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270" r:id="rId2"/>
    <p:sldId id="1881838696" r:id="rId3"/>
    <p:sldId id="1881838697" r:id="rId4"/>
    <p:sldId id="1881838713" r:id="rId5"/>
    <p:sldId id="1881838716" r:id="rId6"/>
    <p:sldId id="499" r:id="rId7"/>
    <p:sldId id="1881838698" r:id="rId8"/>
    <p:sldId id="1881838702" r:id="rId9"/>
    <p:sldId id="1881838710" r:id="rId10"/>
    <p:sldId id="1881838705" r:id="rId11"/>
    <p:sldId id="1881838699" r:id="rId12"/>
    <p:sldId id="1881838718" r:id="rId13"/>
    <p:sldId id="1881838719" r:id="rId14"/>
    <p:sldId id="1881838720" r:id="rId15"/>
    <p:sldId id="1881838714" r:id="rId16"/>
    <p:sldId id="1881838700" r:id="rId17"/>
    <p:sldId id="1881838707" r:id="rId18"/>
    <p:sldId id="1881838687" r:id="rId19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40000"/>
    <a:srgbClr val="FFE600"/>
    <a:srgbClr val="D9D9D9"/>
    <a:srgbClr val="FFFFFF"/>
    <a:srgbClr val="3B3838"/>
    <a:srgbClr val="181717"/>
    <a:srgbClr val="AFABAB"/>
    <a:srgbClr val="07080B"/>
    <a:srgbClr val="262626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A7651E-99A5-4375-B436-FECF63514F32}" v="54" dt="2022-12-22T14:27:59.46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2713" autoAdjust="0"/>
  </p:normalViewPr>
  <p:slideViewPr>
    <p:cSldViewPr snapToGrid="0">
      <p:cViewPr varScale="1">
        <p:scale>
          <a:sx n="62" d="100"/>
          <a:sy n="62" d="100"/>
        </p:scale>
        <p:origin x="828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ristina Garcia Gutierrez" userId="8eb4a680-c7b2-4ff3-b975-1efea2ff286e" providerId="ADAL" clId="{49A7651E-99A5-4375-B436-FECF63514F32}"/>
    <pc:docChg chg="undo custSel addSld delSld modSld">
      <pc:chgData name="Cristina Garcia Gutierrez" userId="8eb4a680-c7b2-4ff3-b975-1efea2ff286e" providerId="ADAL" clId="{49A7651E-99A5-4375-B436-FECF63514F32}" dt="2022-12-22T14:28:15.605" v="3791" actId="20577"/>
      <pc:docMkLst>
        <pc:docMk/>
      </pc:docMkLst>
      <pc:sldChg chg="modNotesTx">
        <pc:chgData name="Cristina Garcia Gutierrez" userId="8eb4a680-c7b2-4ff3-b975-1efea2ff286e" providerId="ADAL" clId="{49A7651E-99A5-4375-B436-FECF63514F32}" dt="2022-12-22T12:56:17.472" v="3764" actId="20577"/>
        <pc:sldMkLst>
          <pc:docMk/>
          <pc:sldMk cId="1263138756" sldId="499"/>
        </pc:sldMkLst>
      </pc:sldChg>
      <pc:sldChg chg="modNotesTx">
        <pc:chgData name="Cristina Garcia Gutierrez" userId="8eb4a680-c7b2-4ff3-b975-1efea2ff286e" providerId="ADAL" clId="{49A7651E-99A5-4375-B436-FECF63514F32}" dt="2022-12-22T12:56:06.230" v="3762" actId="20577"/>
        <pc:sldMkLst>
          <pc:docMk/>
          <pc:sldMk cId="1772092447" sldId="1881838696"/>
        </pc:sldMkLst>
      </pc:sldChg>
      <pc:sldChg chg="modNotesTx">
        <pc:chgData name="Cristina Garcia Gutierrez" userId="8eb4a680-c7b2-4ff3-b975-1efea2ff286e" providerId="ADAL" clId="{49A7651E-99A5-4375-B436-FECF63514F32}" dt="2022-12-22T12:56:11.593" v="3763" actId="20577"/>
        <pc:sldMkLst>
          <pc:docMk/>
          <pc:sldMk cId="3205016461" sldId="1881838697"/>
        </pc:sldMkLst>
      </pc:sldChg>
      <pc:sldChg chg="modNotesTx">
        <pc:chgData name="Cristina Garcia Gutierrez" userId="8eb4a680-c7b2-4ff3-b975-1efea2ff286e" providerId="ADAL" clId="{49A7651E-99A5-4375-B436-FECF63514F32}" dt="2022-12-22T12:56:21.283" v="3765" actId="20577"/>
        <pc:sldMkLst>
          <pc:docMk/>
          <pc:sldMk cId="3335812372" sldId="1881838698"/>
        </pc:sldMkLst>
      </pc:sldChg>
      <pc:sldChg chg="modNotesTx">
        <pc:chgData name="Cristina Garcia Gutierrez" userId="8eb4a680-c7b2-4ff3-b975-1efea2ff286e" providerId="ADAL" clId="{49A7651E-99A5-4375-B436-FECF63514F32}" dt="2022-12-22T12:56:24.829" v="3766" actId="20577"/>
        <pc:sldMkLst>
          <pc:docMk/>
          <pc:sldMk cId="3323995819" sldId="1881838702"/>
        </pc:sldMkLst>
      </pc:sldChg>
      <pc:sldChg chg="del">
        <pc:chgData name="Cristina Garcia Gutierrez" userId="8eb4a680-c7b2-4ff3-b975-1efea2ff286e" providerId="ADAL" clId="{49A7651E-99A5-4375-B436-FECF63514F32}" dt="2022-12-22T12:13:38.659" v="2262" actId="47"/>
        <pc:sldMkLst>
          <pc:docMk/>
          <pc:sldMk cId="1821672212" sldId="1881838703"/>
        </pc:sldMkLst>
      </pc:sldChg>
      <pc:sldChg chg="addSp delSp modSp mod">
        <pc:chgData name="Cristina Garcia Gutierrez" userId="8eb4a680-c7b2-4ff3-b975-1efea2ff286e" providerId="ADAL" clId="{49A7651E-99A5-4375-B436-FECF63514F32}" dt="2022-12-22T08:15:51.459" v="633" actId="1038"/>
        <pc:sldMkLst>
          <pc:docMk/>
          <pc:sldMk cId="1314017550" sldId="1881838705"/>
        </pc:sldMkLst>
        <pc:spChg chg="add mod">
          <ac:chgData name="Cristina Garcia Gutierrez" userId="8eb4a680-c7b2-4ff3-b975-1efea2ff286e" providerId="ADAL" clId="{49A7651E-99A5-4375-B436-FECF63514F32}" dt="2022-12-22T08:15:46.400" v="629" actId="1037"/>
          <ac:spMkLst>
            <pc:docMk/>
            <pc:sldMk cId="1314017550" sldId="1881838705"/>
            <ac:spMk id="10" creationId="{A5AF0BBB-1ADC-4529-A188-CE5FEFDF30C5}"/>
          </ac:spMkLst>
        </pc:spChg>
        <pc:spChg chg="mod">
          <ac:chgData name="Cristina Garcia Gutierrez" userId="8eb4a680-c7b2-4ff3-b975-1efea2ff286e" providerId="ADAL" clId="{49A7651E-99A5-4375-B436-FECF63514F32}" dt="2022-12-22T08:03:35.230" v="177" actId="1035"/>
          <ac:spMkLst>
            <pc:docMk/>
            <pc:sldMk cId="1314017550" sldId="1881838705"/>
            <ac:spMk id="12" creationId="{F8437A2E-EABC-41F2-BE25-3976F4E299D5}"/>
          </ac:spMkLst>
        </pc:spChg>
        <pc:spChg chg="add mod ord">
          <ac:chgData name="Cristina Garcia Gutierrez" userId="8eb4a680-c7b2-4ff3-b975-1efea2ff286e" providerId="ADAL" clId="{49A7651E-99A5-4375-B436-FECF63514F32}" dt="2022-12-22T08:03:40.125" v="178" actId="14100"/>
          <ac:spMkLst>
            <pc:docMk/>
            <pc:sldMk cId="1314017550" sldId="1881838705"/>
            <ac:spMk id="13" creationId="{A64020C9-170A-47E0-BCE6-307F8396DBC2}"/>
          </ac:spMkLst>
        </pc:spChg>
        <pc:spChg chg="add mod">
          <ac:chgData name="Cristina Garcia Gutierrez" userId="8eb4a680-c7b2-4ff3-b975-1efea2ff286e" providerId="ADAL" clId="{49A7651E-99A5-4375-B436-FECF63514F32}" dt="2022-12-22T08:15:37.811" v="607" actId="14100"/>
          <ac:spMkLst>
            <pc:docMk/>
            <pc:sldMk cId="1314017550" sldId="1881838705"/>
            <ac:spMk id="14" creationId="{FF0DF381-CA78-4F99-9DB6-02129967CC9E}"/>
          </ac:spMkLst>
        </pc:spChg>
        <pc:spChg chg="add mod">
          <ac:chgData name="Cristina Garcia Gutierrez" userId="8eb4a680-c7b2-4ff3-b975-1efea2ff286e" providerId="ADAL" clId="{49A7651E-99A5-4375-B436-FECF63514F32}" dt="2022-12-22T08:15:40.689" v="608" actId="14100"/>
          <ac:spMkLst>
            <pc:docMk/>
            <pc:sldMk cId="1314017550" sldId="1881838705"/>
            <ac:spMk id="15" creationId="{5BEF5801-18A3-42E1-A326-FBEF7343F435}"/>
          </ac:spMkLst>
        </pc:spChg>
        <pc:spChg chg="add mod">
          <ac:chgData name="Cristina Garcia Gutierrez" userId="8eb4a680-c7b2-4ff3-b975-1efea2ff286e" providerId="ADAL" clId="{49A7651E-99A5-4375-B436-FECF63514F32}" dt="2022-12-22T08:04:43.488" v="261" actId="20577"/>
          <ac:spMkLst>
            <pc:docMk/>
            <pc:sldMk cId="1314017550" sldId="1881838705"/>
            <ac:spMk id="16" creationId="{234368DB-97CF-43F4-A497-E01E37AEFE4A}"/>
          </ac:spMkLst>
        </pc:spChg>
        <pc:spChg chg="add del mod">
          <ac:chgData name="Cristina Garcia Gutierrez" userId="8eb4a680-c7b2-4ff3-b975-1efea2ff286e" providerId="ADAL" clId="{49A7651E-99A5-4375-B436-FECF63514F32}" dt="2022-12-22T08:09:36.839" v="394" actId="478"/>
          <ac:spMkLst>
            <pc:docMk/>
            <pc:sldMk cId="1314017550" sldId="1881838705"/>
            <ac:spMk id="18" creationId="{8184431E-D62B-4680-9CDF-C7F33C76A49E}"/>
          </ac:spMkLst>
        </pc:spChg>
        <pc:spChg chg="add del mod">
          <ac:chgData name="Cristina Garcia Gutierrez" userId="8eb4a680-c7b2-4ff3-b975-1efea2ff286e" providerId="ADAL" clId="{49A7651E-99A5-4375-B436-FECF63514F32}" dt="2022-12-22T08:10:25.341" v="411" actId="478"/>
          <ac:spMkLst>
            <pc:docMk/>
            <pc:sldMk cId="1314017550" sldId="1881838705"/>
            <ac:spMk id="19" creationId="{193D598A-7C90-4FAF-998D-EB65CECE93AD}"/>
          </ac:spMkLst>
        </pc:spChg>
        <pc:spChg chg="add mod">
          <ac:chgData name="Cristina Garcia Gutierrez" userId="8eb4a680-c7b2-4ff3-b975-1efea2ff286e" providerId="ADAL" clId="{49A7651E-99A5-4375-B436-FECF63514F32}" dt="2022-12-22T08:15:51.459" v="633" actId="1038"/>
          <ac:spMkLst>
            <pc:docMk/>
            <pc:sldMk cId="1314017550" sldId="1881838705"/>
            <ac:spMk id="20" creationId="{500B939E-7460-4643-A68B-952621156AA0}"/>
          </ac:spMkLst>
        </pc:spChg>
        <pc:spChg chg="mod">
          <ac:chgData name="Cristina Garcia Gutierrez" userId="8eb4a680-c7b2-4ff3-b975-1efea2ff286e" providerId="ADAL" clId="{49A7651E-99A5-4375-B436-FECF63514F32}" dt="2022-12-22T08:14:45.467" v="556"/>
          <ac:spMkLst>
            <pc:docMk/>
            <pc:sldMk cId="1314017550" sldId="1881838705"/>
            <ac:spMk id="22" creationId="{C7D851D8-4EC5-4233-BDB2-579F05311FB9}"/>
          </ac:spMkLst>
        </pc:spChg>
        <pc:spChg chg="mod">
          <ac:chgData name="Cristina Garcia Gutierrez" userId="8eb4a680-c7b2-4ff3-b975-1efea2ff286e" providerId="ADAL" clId="{49A7651E-99A5-4375-B436-FECF63514F32}" dt="2022-12-22T08:14:45.467" v="556"/>
          <ac:spMkLst>
            <pc:docMk/>
            <pc:sldMk cId="1314017550" sldId="1881838705"/>
            <ac:spMk id="23" creationId="{4F4ECBCC-F97F-4D3C-9073-B5EADA38EB9D}"/>
          </ac:spMkLst>
        </pc:spChg>
        <pc:grpChg chg="del mod">
          <ac:chgData name="Cristina Garcia Gutierrez" userId="8eb4a680-c7b2-4ff3-b975-1efea2ff286e" providerId="ADAL" clId="{49A7651E-99A5-4375-B436-FECF63514F32}" dt="2022-12-22T08:14:36.521" v="555" actId="478"/>
          <ac:grpSpMkLst>
            <pc:docMk/>
            <pc:sldMk cId="1314017550" sldId="1881838705"/>
            <ac:grpSpMk id="4" creationId="{7F932D5C-69C3-4363-8B42-A827C1D3E674}"/>
          </ac:grpSpMkLst>
        </pc:grpChg>
        <pc:grpChg chg="add mod">
          <ac:chgData name="Cristina Garcia Gutierrez" userId="8eb4a680-c7b2-4ff3-b975-1efea2ff286e" providerId="ADAL" clId="{49A7651E-99A5-4375-B436-FECF63514F32}" dt="2022-12-22T08:14:45.467" v="556"/>
          <ac:grpSpMkLst>
            <pc:docMk/>
            <pc:sldMk cId="1314017550" sldId="1881838705"/>
            <ac:grpSpMk id="21" creationId="{10FCE0E3-267F-4A3E-99EF-C53E3CF38239}"/>
          </ac:grpSpMkLst>
        </pc:grpChg>
        <pc:picChg chg="mod">
          <ac:chgData name="Cristina Garcia Gutierrez" userId="8eb4a680-c7b2-4ff3-b975-1efea2ff286e" providerId="ADAL" clId="{49A7651E-99A5-4375-B436-FECF63514F32}" dt="2022-12-22T08:14:32.912" v="554" actId="1037"/>
          <ac:picMkLst>
            <pc:docMk/>
            <pc:sldMk cId="1314017550" sldId="1881838705"/>
            <ac:picMk id="11" creationId="{0E666D21-6E8C-42A1-855E-4BA36FC0FC43}"/>
          </ac:picMkLst>
        </pc:picChg>
        <pc:picChg chg="mod">
          <ac:chgData name="Cristina Garcia Gutierrez" userId="8eb4a680-c7b2-4ff3-b975-1efea2ff286e" providerId="ADAL" clId="{49A7651E-99A5-4375-B436-FECF63514F32}" dt="2022-12-22T08:13:49.712" v="534" actId="1076"/>
          <ac:picMkLst>
            <pc:docMk/>
            <pc:sldMk cId="1314017550" sldId="1881838705"/>
            <ac:picMk id="7170" creationId="{5A37A321-7858-4304-ACF4-56D65A0E0BE2}"/>
          </ac:picMkLst>
        </pc:picChg>
      </pc:sldChg>
      <pc:sldChg chg="addSp delSp modSp mod">
        <pc:chgData name="Cristina Garcia Gutierrez" userId="8eb4a680-c7b2-4ff3-b975-1efea2ff286e" providerId="ADAL" clId="{49A7651E-99A5-4375-B436-FECF63514F32}" dt="2022-12-22T12:36:24.437" v="3513" actId="20577"/>
        <pc:sldMkLst>
          <pc:docMk/>
          <pc:sldMk cId="4050444738" sldId="1881838707"/>
        </pc:sldMkLst>
        <pc:spChg chg="add del mod">
          <ac:chgData name="Cristina Garcia Gutierrez" userId="8eb4a680-c7b2-4ff3-b975-1efea2ff286e" providerId="ADAL" clId="{49A7651E-99A5-4375-B436-FECF63514F32}" dt="2022-12-22T11:41:07.299" v="1132" actId="478"/>
          <ac:spMkLst>
            <pc:docMk/>
            <pc:sldMk cId="4050444738" sldId="1881838707"/>
            <ac:spMk id="7" creationId="{B0A8C289-54D9-48D4-AFC9-D07AFA7DBDC0}"/>
          </ac:spMkLst>
        </pc:spChg>
        <pc:spChg chg="add del mod">
          <ac:chgData name="Cristina Garcia Gutierrez" userId="8eb4a680-c7b2-4ff3-b975-1efea2ff286e" providerId="ADAL" clId="{49A7651E-99A5-4375-B436-FECF63514F32}" dt="2022-12-22T11:41:02.538" v="1130" actId="478"/>
          <ac:spMkLst>
            <pc:docMk/>
            <pc:sldMk cId="4050444738" sldId="1881838707"/>
            <ac:spMk id="8" creationId="{8A2D6860-7603-4B16-A6B7-BEC294359B19}"/>
          </ac:spMkLst>
        </pc:spChg>
        <pc:spChg chg="add del mod">
          <ac:chgData name="Cristina Garcia Gutierrez" userId="8eb4a680-c7b2-4ff3-b975-1efea2ff286e" providerId="ADAL" clId="{49A7651E-99A5-4375-B436-FECF63514F32}" dt="2022-12-22T11:41:02.538" v="1130" actId="478"/>
          <ac:spMkLst>
            <pc:docMk/>
            <pc:sldMk cId="4050444738" sldId="1881838707"/>
            <ac:spMk id="9" creationId="{34614D92-DE6C-456E-9AF8-2CF7F8929D12}"/>
          </ac:spMkLst>
        </pc:spChg>
        <pc:spChg chg="add del mod">
          <ac:chgData name="Cristina Garcia Gutierrez" userId="8eb4a680-c7b2-4ff3-b975-1efea2ff286e" providerId="ADAL" clId="{49A7651E-99A5-4375-B436-FECF63514F32}" dt="2022-12-22T11:41:02.538" v="1130" actId="478"/>
          <ac:spMkLst>
            <pc:docMk/>
            <pc:sldMk cId="4050444738" sldId="1881838707"/>
            <ac:spMk id="10" creationId="{21E181E4-A9E9-4636-8639-4E134D327B3C}"/>
          </ac:spMkLst>
        </pc:spChg>
        <pc:spChg chg="mod">
          <ac:chgData name="Cristina Garcia Gutierrez" userId="8eb4a680-c7b2-4ff3-b975-1efea2ff286e" providerId="ADAL" clId="{49A7651E-99A5-4375-B436-FECF63514F32}" dt="2022-12-22T11:38:59.523" v="1119"/>
          <ac:spMkLst>
            <pc:docMk/>
            <pc:sldMk cId="4050444738" sldId="1881838707"/>
            <ac:spMk id="12" creationId="{2BAD3B69-0F2A-4049-BDB9-B59AA15EFDD4}"/>
          </ac:spMkLst>
        </pc:spChg>
        <pc:spChg chg="mod">
          <ac:chgData name="Cristina Garcia Gutierrez" userId="8eb4a680-c7b2-4ff3-b975-1efea2ff286e" providerId="ADAL" clId="{49A7651E-99A5-4375-B436-FECF63514F32}" dt="2022-12-22T11:38:59.523" v="1119"/>
          <ac:spMkLst>
            <pc:docMk/>
            <pc:sldMk cId="4050444738" sldId="1881838707"/>
            <ac:spMk id="13" creationId="{58973745-BE8F-4B4F-B173-9D843AB3853E}"/>
          </ac:spMkLst>
        </pc:spChg>
        <pc:spChg chg="mod">
          <ac:chgData name="Cristina Garcia Gutierrez" userId="8eb4a680-c7b2-4ff3-b975-1efea2ff286e" providerId="ADAL" clId="{49A7651E-99A5-4375-B436-FECF63514F32}" dt="2022-12-22T11:38:59.523" v="1119"/>
          <ac:spMkLst>
            <pc:docMk/>
            <pc:sldMk cId="4050444738" sldId="1881838707"/>
            <ac:spMk id="14" creationId="{01B750E7-C486-44F3-8F97-10729A0CB91F}"/>
          </ac:spMkLst>
        </pc:spChg>
        <pc:spChg chg="mod">
          <ac:chgData name="Cristina Garcia Gutierrez" userId="8eb4a680-c7b2-4ff3-b975-1efea2ff286e" providerId="ADAL" clId="{49A7651E-99A5-4375-B436-FECF63514F32}" dt="2022-12-22T11:38:59.523" v="1119"/>
          <ac:spMkLst>
            <pc:docMk/>
            <pc:sldMk cId="4050444738" sldId="1881838707"/>
            <ac:spMk id="15" creationId="{64719CEF-8773-42C2-8D20-847EB667D328}"/>
          </ac:spMkLst>
        </pc:spChg>
        <pc:spChg chg="mod">
          <ac:chgData name="Cristina Garcia Gutierrez" userId="8eb4a680-c7b2-4ff3-b975-1efea2ff286e" providerId="ADAL" clId="{49A7651E-99A5-4375-B436-FECF63514F32}" dt="2022-12-22T11:38:59.523" v="1119"/>
          <ac:spMkLst>
            <pc:docMk/>
            <pc:sldMk cId="4050444738" sldId="1881838707"/>
            <ac:spMk id="16" creationId="{A4DADF73-EC7E-40F3-968E-AEF98D06D22C}"/>
          </ac:spMkLst>
        </pc:spChg>
        <pc:spChg chg="mod">
          <ac:chgData name="Cristina Garcia Gutierrez" userId="8eb4a680-c7b2-4ff3-b975-1efea2ff286e" providerId="ADAL" clId="{49A7651E-99A5-4375-B436-FECF63514F32}" dt="2022-12-22T11:38:59.523" v="1119"/>
          <ac:spMkLst>
            <pc:docMk/>
            <pc:sldMk cId="4050444738" sldId="1881838707"/>
            <ac:spMk id="18" creationId="{87E6D672-7CD9-488F-AE7C-844EDC9EE059}"/>
          </ac:spMkLst>
        </pc:spChg>
        <pc:spChg chg="mod">
          <ac:chgData name="Cristina Garcia Gutierrez" userId="8eb4a680-c7b2-4ff3-b975-1efea2ff286e" providerId="ADAL" clId="{49A7651E-99A5-4375-B436-FECF63514F32}" dt="2022-12-22T11:38:59.523" v="1119"/>
          <ac:spMkLst>
            <pc:docMk/>
            <pc:sldMk cId="4050444738" sldId="1881838707"/>
            <ac:spMk id="20" creationId="{65D7534E-DB51-4ADF-B990-A8BC1B4008D5}"/>
          </ac:spMkLst>
        </pc:spChg>
        <pc:spChg chg="mod">
          <ac:chgData name="Cristina Garcia Gutierrez" userId="8eb4a680-c7b2-4ff3-b975-1efea2ff286e" providerId="ADAL" clId="{49A7651E-99A5-4375-B436-FECF63514F32}" dt="2022-12-22T11:38:59.523" v="1119"/>
          <ac:spMkLst>
            <pc:docMk/>
            <pc:sldMk cId="4050444738" sldId="1881838707"/>
            <ac:spMk id="21" creationId="{0E7BDCC1-8947-48B1-84B0-A2D8BCFEC384}"/>
          </ac:spMkLst>
        </pc:spChg>
        <pc:spChg chg="mod">
          <ac:chgData name="Cristina Garcia Gutierrez" userId="8eb4a680-c7b2-4ff3-b975-1efea2ff286e" providerId="ADAL" clId="{49A7651E-99A5-4375-B436-FECF63514F32}" dt="2022-12-22T11:38:59.523" v="1119"/>
          <ac:spMkLst>
            <pc:docMk/>
            <pc:sldMk cId="4050444738" sldId="1881838707"/>
            <ac:spMk id="22" creationId="{1E6192CE-3F09-4A93-8BDE-824066A2EC86}"/>
          </ac:spMkLst>
        </pc:spChg>
        <pc:spChg chg="mod">
          <ac:chgData name="Cristina Garcia Gutierrez" userId="8eb4a680-c7b2-4ff3-b975-1efea2ff286e" providerId="ADAL" clId="{49A7651E-99A5-4375-B436-FECF63514F32}" dt="2022-12-22T11:38:59.523" v="1119"/>
          <ac:spMkLst>
            <pc:docMk/>
            <pc:sldMk cId="4050444738" sldId="1881838707"/>
            <ac:spMk id="24" creationId="{9E707F34-3327-4817-B3C3-24CB969C94D3}"/>
          </ac:spMkLst>
        </pc:spChg>
        <pc:spChg chg="mod">
          <ac:chgData name="Cristina Garcia Gutierrez" userId="8eb4a680-c7b2-4ff3-b975-1efea2ff286e" providerId="ADAL" clId="{49A7651E-99A5-4375-B436-FECF63514F32}" dt="2022-12-22T11:38:59.523" v="1119"/>
          <ac:spMkLst>
            <pc:docMk/>
            <pc:sldMk cId="4050444738" sldId="1881838707"/>
            <ac:spMk id="26" creationId="{0F80416E-B5D2-490B-B78C-1361092F3FA8}"/>
          </ac:spMkLst>
        </pc:spChg>
        <pc:spChg chg="mod">
          <ac:chgData name="Cristina Garcia Gutierrez" userId="8eb4a680-c7b2-4ff3-b975-1efea2ff286e" providerId="ADAL" clId="{49A7651E-99A5-4375-B436-FECF63514F32}" dt="2022-12-22T11:38:59.523" v="1119"/>
          <ac:spMkLst>
            <pc:docMk/>
            <pc:sldMk cId="4050444738" sldId="1881838707"/>
            <ac:spMk id="27" creationId="{D804BE4B-2AC8-4526-B61B-FC8DA5129F65}"/>
          </ac:spMkLst>
        </pc:spChg>
        <pc:spChg chg="mod">
          <ac:chgData name="Cristina Garcia Gutierrez" userId="8eb4a680-c7b2-4ff3-b975-1efea2ff286e" providerId="ADAL" clId="{49A7651E-99A5-4375-B436-FECF63514F32}" dt="2022-12-22T11:38:59.523" v="1119"/>
          <ac:spMkLst>
            <pc:docMk/>
            <pc:sldMk cId="4050444738" sldId="1881838707"/>
            <ac:spMk id="28" creationId="{0CBABA9F-5E7C-4518-92F3-DB8BC3DC88AC}"/>
          </ac:spMkLst>
        </pc:spChg>
        <pc:spChg chg="mod">
          <ac:chgData name="Cristina Garcia Gutierrez" userId="8eb4a680-c7b2-4ff3-b975-1efea2ff286e" providerId="ADAL" clId="{49A7651E-99A5-4375-B436-FECF63514F32}" dt="2022-12-22T11:38:59.523" v="1119"/>
          <ac:spMkLst>
            <pc:docMk/>
            <pc:sldMk cId="4050444738" sldId="1881838707"/>
            <ac:spMk id="30" creationId="{64639BDF-76A2-44C5-8768-BB28BC757A5C}"/>
          </ac:spMkLst>
        </pc:spChg>
        <pc:spChg chg="mod">
          <ac:chgData name="Cristina Garcia Gutierrez" userId="8eb4a680-c7b2-4ff3-b975-1efea2ff286e" providerId="ADAL" clId="{49A7651E-99A5-4375-B436-FECF63514F32}" dt="2022-12-22T11:38:59.523" v="1119"/>
          <ac:spMkLst>
            <pc:docMk/>
            <pc:sldMk cId="4050444738" sldId="1881838707"/>
            <ac:spMk id="32" creationId="{82965EC5-EA74-4B0A-A09B-A473A2E70DB5}"/>
          </ac:spMkLst>
        </pc:spChg>
        <pc:spChg chg="mod">
          <ac:chgData name="Cristina Garcia Gutierrez" userId="8eb4a680-c7b2-4ff3-b975-1efea2ff286e" providerId="ADAL" clId="{49A7651E-99A5-4375-B436-FECF63514F32}" dt="2022-12-22T11:38:59.523" v="1119"/>
          <ac:spMkLst>
            <pc:docMk/>
            <pc:sldMk cId="4050444738" sldId="1881838707"/>
            <ac:spMk id="33" creationId="{9DFCF645-4340-418B-807B-6056369942D8}"/>
          </ac:spMkLst>
        </pc:spChg>
        <pc:spChg chg="mod">
          <ac:chgData name="Cristina Garcia Gutierrez" userId="8eb4a680-c7b2-4ff3-b975-1efea2ff286e" providerId="ADAL" clId="{49A7651E-99A5-4375-B436-FECF63514F32}" dt="2022-12-22T11:38:59.523" v="1119"/>
          <ac:spMkLst>
            <pc:docMk/>
            <pc:sldMk cId="4050444738" sldId="1881838707"/>
            <ac:spMk id="34" creationId="{41E2D5BE-6121-4070-86CD-4BF394530ADF}"/>
          </ac:spMkLst>
        </pc:spChg>
        <pc:spChg chg="mod">
          <ac:chgData name="Cristina Garcia Gutierrez" userId="8eb4a680-c7b2-4ff3-b975-1efea2ff286e" providerId="ADAL" clId="{49A7651E-99A5-4375-B436-FECF63514F32}" dt="2022-12-22T11:38:59.523" v="1119"/>
          <ac:spMkLst>
            <pc:docMk/>
            <pc:sldMk cId="4050444738" sldId="1881838707"/>
            <ac:spMk id="36" creationId="{6AB8D848-47AE-4F2F-8DBD-B263A4D78F51}"/>
          </ac:spMkLst>
        </pc:spChg>
        <pc:spChg chg="mod">
          <ac:chgData name="Cristina Garcia Gutierrez" userId="8eb4a680-c7b2-4ff3-b975-1efea2ff286e" providerId="ADAL" clId="{49A7651E-99A5-4375-B436-FECF63514F32}" dt="2022-12-22T11:38:59.523" v="1119"/>
          <ac:spMkLst>
            <pc:docMk/>
            <pc:sldMk cId="4050444738" sldId="1881838707"/>
            <ac:spMk id="38" creationId="{361B668A-94FB-465C-BE5F-32875974A848}"/>
          </ac:spMkLst>
        </pc:spChg>
        <pc:spChg chg="mod">
          <ac:chgData name="Cristina Garcia Gutierrez" userId="8eb4a680-c7b2-4ff3-b975-1efea2ff286e" providerId="ADAL" clId="{49A7651E-99A5-4375-B436-FECF63514F32}" dt="2022-12-22T11:38:59.523" v="1119"/>
          <ac:spMkLst>
            <pc:docMk/>
            <pc:sldMk cId="4050444738" sldId="1881838707"/>
            <ac:spMk id="39" creationId="{B204678B-53FB-41C9-B430-59D0F8657338}"/>
          </ac:spMkLst>
        </pc:spChg>
        <pc:spChg chg="mod">
          <ac:chgData name="Cristina Garcia Gutierrez" userId="8eb4a680-c7b2-4ff3-b975-1efea2ff286e" providerId="ADAL" clId="{49A7651E-99A5-4375-B436-FECF63514F32}" dt="2022-12-22T11:38:59.523" v="1119"/>
          <ac:spMkLst>
            <pc:docMk/>
            <pc:sldMk cId="4050444738" sldId="1881838707"/>
            <ac:spMk id="40" creationId="{0B176DE3-EB0C-4C0C-8D5F-259272F03A10}"/>
          </ac:spMkLst>
        </pc:spChg>
        <pc:spChg chg="add mod ord">
          <ac:chgData name="Cristina Garcia Gutierrez" userId="8eb4a680-c7b2-4ff3-b975-1efea2ff286e" providerId="ADAL" clId="{49A7651E-99A5-4375-B436-FECF63514F32}" dt="2022-12-22T12:32:25.612" v="3178" actId="14100"/>
          <ac:spMkLst>
            <pc:docMk/>
            <pc:sldMk cId="4050444738" sldId="1881838707"/>
            <ac:spMk id="48" creationId="{14B6C1F4-472D-462E-AEA1-7B790717FCAE}"/>
          </ac:spMkLst>
        </pc:spChg>
        <pc:spChg chg="add mod">
          <ac:chgData name="Cristina Garcia Gutierrez" userId="8eb4a680-c7b2-4ff3-b975-1efea2ff286e" providerId="ADAL" clId="{49A7651E-99A5-4375-B436-FECF63514F32}" dt="2022-12-22T12:32:27.633" v="3179" actId="14100"/>
          <ac:spMkLst>
            <pc:docMk/>
            <pc:sldMk cId="4050444738" sldId="1881838707"/>
            <ac:spMk id="49" creationId="{C3FC3AC4-7E1D-413E-8F25-CDFAF0CCED9B}"/>
          </ac:spMkLst>
        </pc:spChg>
        <pc:spChg chg="add del mod">
          <ac:chgData name="Cristina Garcia Gutierrez" userId="8eb4a680-c7b2-4ff3-b975-1efea2ff286e" providerId="ADAL" clId="{49A7651E-99A5-4375-B436-FECF63514F32}" dt="2022-12-22T12:31:46.643" v="3172" actId="478"/>
          <ac:spMkLst>
            <pc:docMk/>
            <pc:sldMk cId="4050444738" sldId="1881838707"/>
            <ac:spMk id="51" creationId="{64D01298-0546-4784-BB6C-45B1221A8597}"/>
          </ac:spMkLst>
        </pc:spChg>
        <pc:spChg chg="add mod">
          <ac:chgData name="Cristina Garcia Gutierrez" userId="8eb4a680-c7b2-4ff3-b975-1efea2ff286e" providerId="ADAL" clId="{49A7651E-99A5-4375-B436-FECF63514F32}" dt="2022-12-22T12:32:19.560" v="3177" actId="1076"/>
          <ac:spMkLst>
            <pc:docMk/>
            <pc:sldMk cId="4050444738" sldId="1881838707"/>
            <ac:spMk id="53" creationId="{9C4009C5-50F7-4E07-A39C-05CA8383B3FB}"/>
          </ac:spMkLst>
        </pc:spChg>
        <pc:spChg chg="add mod">
          <ac:chgData name="Cristina Garcia Gutierrez" userId="8eb4a680-c7b2-4ff3-b975-1efea2ff286e" providerId="ADAL" clId="{49A7651E-99A5-4375-B436-FECF63514F32}" dt="2022-12-22T12:33:24.232" v="3247" actId="20577"/>
          <ac:spMkLst>
            <pc:docMk/>
            <pc:sldMk cId="4050444738" sldId="1881838707"/>
            <ac:spMk id="54" creationId="{8403AD48-896D-4F61-B9FA-7800B6977150}"/>
          </ac:spMkLst>
        </pc:spChg>
        <pc:spChg chg="add del mod">
          <ac:chgData name="Cristina Garcia Gutierrez" userId="8eb4a680-c7b2-4ff3-b975-1efea2ff286e" providerId="ADAL" clId="{49A7651E-99A5-4375-B436-FECF63514F32}" dt="2022-12-22T12:31:46.643" v="3172" actId="478"/>
          <ac:spMkLst>
            <pc:docMk/>
            <pc:sldMk cId="4050444738" sldId="1881838707"/>
            <ac:spMk id="55" creationId="{78CBD315-A745-42B8-AB6C-B37058B3F67B}"/>
          </ac:spMkLst>
        </pc:spChg>
        <pc:spChg chg="add del mod">
          <ac:chgData name="Cristina Garcia Gutierrez" userId="8eb4a680-c7b2-4ff3-b975-1efea2ff286e" providerId="ADAL" clId="{49A7651E-99A5-4375-B436-FECF63514F32}" dt="2022-12-22T11:55:23.377" v="1815" actId="478"/>
          <ac:spMkLst>
            <pc:docMk/>
            <pc:sldMk cId="4050444738" sldId="1881838707"/>
            <ac:spMk id="56" creationId="{FB957815-01E5-4525-8982-7CB43FF29280}"/>
          </ac:spMkLst>
        </pc:spChg>
        <pc:spChg chg="add mod">
          <ac:chgData name="Cristina Garcia Gutierrez" userId="8eb4a680-c7b2-4ff3-b975-1efea2ff286e" providerId="ADAL" clId="{49A7651E-99A5-4375-B436-FECF63514F32}" dt="2022-12-22T12:32:19.560" v="3177" actId="1076"/>
          <ac:spMkLst>
            <pc:docMk/>
            <pc:sldMk cId="4050444738" sldId="1881838707"/>
            <ac:spMk id="57" creationId="{2EBD57A9-F39E-451B-83D6-58DE196676B8}"/>
          </ac:spMkLst>
        </pc:spChg>
        <pc:spChg chg="add mod">
          <ac:chgData name="Cristina Garcia Gutierrez" userId="8eb4a680-c7b2-4ff3-b975-1efea2ff286e" providerId="ADAL" clId="{49A7651E-99A5-4375-B436-FECF63514F32}" dt="2022-12-22T12:32:19.560" v="3177" actId="1076"/>
          <ac:spMkLst>
            <pc:docMk/>
            <pc:sldMk cId="4050444738" sldId="1881838707"/>
            <ac:spMk id="58" creationId="{2F5B9E5C-89EE-4CEE-BEA8-553B13195530}"/>
          </ac:spMkLst>
        </pc:spChg>
        <pc:spChg chg="add mod">
          <ac:chgData name="Cristina Garcia Gutierrez" userId="8eb4a680-c7b2-4ff3-b975-1efea2ff286e" providerId="ADAL" clId="{49A7651E-99A5-4375-B436-FECF63514F32}" dt="2022-12-22T12:32:30.579" v="3180" actId="14100"/>
          <ac:spMkLst>
            <pc:docMk/>
            <pc:sldMk cId="4050444738" sldId="1881838707"/>
            <ac:spMk id="59" creationId="{241E298A-4D4F-4F3C-BE3E-B2AAF0469C2E}"/>
          </ac:spMkLst>
        </pc:spChg>
        <pc:spChg chg="add mod">
          <ac:chgData name="Cristina Garcia Gutierrez" userId="8eb4a680-c7b2-4ff3-b975-1efea2ff286e" providerId="ADAL" clId="{49A7651E-99A5-4375-B436-FECF63514F32}" dt="2022-12-22T12:36:24.437" v="3513" actId="20577"/>
          <ac:spMkLst>
            <pc:docMk/>
            <pc:sldMk cId="4050444738" sldId="1881838707"/>
            <ac:spMk id="61" creationId="{627A790F-2BEC-48AE-9471-3BCC21F37F1F}"/>
          </ac:spMkLst>
        </pc:spChg>
        <pc:spChg chg="add mod">
          <ac:chgData name="Cristina Garcia Gutierrez" userId="8eb4a680-c7b2-4ff3-b975-1efea2ff286e" providerId="ADAL" clId="{49A7651E-99A5-4375-B436-FECF63514F32}" dt="2022-12-22T12:32:19.560" v="3177" actId="1076"/>
          <ac:spMkLst>
            <pc:docMk/>
            <pc:sldMk cId="4050444738" sldId="1881838707"/>
            <ac:spMk id="62" creationId="{55F371DA-707B-4BCE-931B-269DCEA9E688}"/>
          </ac:spMkLst>
        </pc:spChg>
        <pc:grpChg chg="mod">
          <ac:chgData name="Cristina Garcia Gutierrez" userId="8eb4a680-c7b2-4ff3-b975-1efea2ff286e" providerId="ADAL" clId="{49A7651E-99A5-4375-B436-FECF63514F32}" dt="2022-12-22T11:40:44.285" v="1129"/>
          <ac:grpSpMkLst>
            <pc:docMk/>
            <pc:sldMk cId="4050444738" sldId="1881838707"/>
            <ac:grpSpMk id="4" creationId="{7044C9CF-1A40-47DA-B909-7A9E8755898C}"/>
          </ac:grpSpMkLst>
        </pc:grpChg>
        <pc:grpChg chg="add del mod">
          <ac:chgData name="Cristina Garcia Gutierrez" userId="8eb4a680-c7b2-4ff3-b975-1efea2ff286e" providerId="ADAL" clId="{49A7651E-99A5-4375-B436-FECF63514F32}" dt="2022-12-22T11:41:04.743" v="1131" actId="478"/>
          <ac:grpSpMkLst>
            <pc:docMk/>
            <pc:sldMk cId="4050444738" sldId="1881838707"/>
            <ac:grpSpMk id="11" creationId="{4BE8C5C1-1C0A-4D90-893B-7DE9A544409D}"/>
          </ac:grpSpMkLst>
        </pc:grpChg>
        <pc:grpChg chg="add del mod">
          <ac:chgData name="Cristina Garcia Gutierrez" userId="8eb4a680-c7b2-4ff3-b975-1efea2ff286e" providerId="ADAL" clId="{49A7651E-99A5-4375-B436-FECF63514F32}" dt="2022-12-22T11:41:02.538" v="1130" actId="478"/>
          <ac:grpSpMkLst>
            <pc:docMk/>
            <pc:sldMk cId="4050444738" sldId="1881838707"/>
            <ac:grpSpMk id="17" creationId="{F0FA4301-A4E8-48EA-B4EF-C8ED2432E156}"/>
          </ac:grpSpMkLst>
        </pc:grpChg>
        <pc:grpChg chg="mod">
          <ac:chgData name="Cristina Garcia Gutierrez" userId="8eb4a680-c7b2-4ff3-b975-1efea2ff286e" providerId="ADAL" clId="{49A7651E-99A5-4375-B436-FECF63514F32}" dt="2022-12-22T11:38:59.523" v="1119"/>
          <ac:grpSpMkLst>
            <pc:docMk/>
            <pc:sldMk cId="4050444738" sldId="1881838707"/>
            <ac:grpSpMk id="19" creationId="{94E0D73C-DB1E-45A9-8FB7-27A8CDFD39F9}"/>
          </ac:grpSpMkLst>
        </pc:grpChg>
        <pc:grpChg chg="add del mod">
          <ac:chgData name="Cristina Garcia Gutierrez" userId="8eb4a680-c7b2-4ff3-b975-1efea2ff286e" providerId="ADAL" clId="{49A7651E-99A5-4375-B436-FECF63514F32}" dt="2022-12-22T11:41:02.538" v="1130" actId="478"/>
          <ac:grpSpMkLst>
            <pc:docMk/>
            <pc:sldMk cId="4050444738" sldId="1881838707"/>
            <ac:grpSpMk id="23" creationId="{51C5F9A9-E5A4-4C41-8FB2-BBC38D4D9E6D}"/>
          </ac:grpSpMkLst>
        </pc:grpChg>
        <pc:grpChg chg="mod">
          <ac:chgData name="Cristina Garcia Gutierrez" userId="8eb4a680-c7b2-4ff3-b975-1efea2ff286e" providerId="ADAL" clId="{49A7651E-99A5-4375-B436-FECF63514F32}" dt="2022-12-22T11:38:59.523" v="1119"/>
          <ac:grpSpMkLst>
            <pc:docMk/>
            <pc:sldMk cId="4050444738" sldId="1881838707"/>
            <ac:grpSpMk id="25" creationId="{AAFD7593-25A4-4FEB-AC87-218487FA4483}"/>
          </ac:grpSpMkLst>
        </pc:grpChg>
        <pc:grpChg chg="add del mod">
          <ac:chgData name="Cristina Garcia Gutierrez" userId="8eb4a680-c7b2-4ff3-b975-1efea2ff286e" providerId="ADAL" clId="{49A7651E-99A5-4375-B436-FECF63514F32}" dt="2022-12-22T11:41:02.538" v="1130" actId="478"/>
          <ac:grpSpMkLst>
            <pc:docMk/>
            <pc:sldMk cId="4050444738" sldId="1881838707"/>
            <ac:grpSpMk id="29" creationId="{D3C9C702-52AB-4583-AEE1-60C57D22D049}"/>
          </ac:grpSpMkLst>
        </pc:grpChg>
        <pc:grpChg chg="mod">
          <ac:chgData name="Cristina Garcia Gutierrez" userId="8eb4a680-c7b2-4ff3-b975-1efea2ff286e" providerId="ADAL" clId="{49A7651E-99A5-4375-B436-FECF63514F32}" dt="2022-12-22T11:38:59.523" v="1119"/>
          <ac:grpSpMkLst>
            <pc:docMk/>
            <pc:sldMk cId="4050444738" sldId="1881838707"/>
            <ac:grpSpMk id="31" creationId="{95162246-2EE1-4648-8425-9B205C6D4EF4}"/>
          </ac:grpSpMkLst>
        </pc:grpChg>
        <pc:grpChg chg="add del mod">
          <ac:chgData name="Cristina Garcia Gutierrez" userId="8eb4a680-c7b2-4ff3-b975-1efea2ff286e" providerId="ADAL" clId="{49A7651E-99A5-4375-B436-FECF63514F32}" dt="2022-12-22T11:41:02.538" v="1130" actId="478"/>
          <ac:grpSpMkLst>
            <pc:docMk/>
            <pc:sldMk cId="4050444738" sldId="1881838707"/>
            <ac:grpSpMk id="35" creationId="{57D2DA6F-C802-4A9F-A0F1-4411296B3277}"/>
          </ac:grpSpMkLst>
        </pc:grpChg>
        <pc:grpChg chg="mod">
          <ac:chgData name="Cristina Garcia Gutierrez" userId="8eb4a680-c7b2-4ff3-b975-1efea2ff286e" providerId="ADAL" clId="{49A7651E-99A5-4375-B436-FECF63514F32}" dt="2022-12-22T11:38:59.523" v="1119"/>
          <ac:grpSpMkLst>
            <pc:docMk/>
            <pc:sldMk cId="4050444738" sldId="1881838707"/>
            <ac:grpSpMk id="37" creationId="{817A17D2-6372-421A-847B-1348FE00F086}"/>
          </ac:grpSpMkLst>
        </pc:grpChg>
        <pc:picChg chg="add mod">
          <ac:chgData name="Cristina Garcia Gutierrez" userId="8eb4a680-c7b2-4ff3-b975-1efea2ff286e" providerId="ADAL" clId="{49A7651E-99A5-4375-B436-FECF63514F32}" dt="2022-12-22T12:32:19.560" v="3177" actId="1076"/>
          <ac:picMkLst>
            <pc:docMk/>
            <pc:sldMk cId="4050444738" sldId="1881838707"/>
            <ac:picMk id="42" creationId="{C7634BA5-F802-41DB-9EC2-5AAD5F328708}"/>
          </ac:picMkLst>
        </pc:picChg>
        <pc:picChg chg="add del mod">
          <ac:chgData name="Cristina Garcia Gutierrez" userId="8eb4a680-c7b2-4ff3-b975-1efea2ff286e" providerId="ADAL" clId="{49A7651E-99A5-4375-B436-FECF63514F32}" dt="2022-12-22T11:42:51.903" v="1144" actId="478"/>
          <ac:picMkLst>
            <pc:docMk/>
            <pc:sldMk cId="4050444738" sldId="1881838707"/>
            <ac:picMk id="44" creationId="{D23C35E1-1F7B-4A5D-AEFD-9E8FB4F9CF90}"/>
          </ac:picMkLst>
        </pc:picChg>
        <pc:picChg chg="add del mod">
          <ac:chgData name="Cristina Garcia Gutierrez" userId="8eb4a680-c7b2-4ff3-b975-1efea2ff286e" providerId="ADAL" clId="{49A7651E-99A5-4375-B436-FECF63514F32}" dt="2022-12-22T11:43:32.168" v="1150" actId="478"/>
          <ac:picMkLst>
            <pc:docMk/>
            <pc:sldMk cId="4050444738" sldId="1881838707"/>
            <ac:picMk id="46" creationId="{EE80BFB3-87F2-4C66-B6A1-C9F1A0CD7D27}"/>
          </ac:picMkLst>
        </pc:picChg>
        <pc:picChg chg="add mod">
          <ac:chgData name="Cristina Garcia Gutierrez" userId="8eb4a680-c7b2-4ff3-b975-1efea2ff286e" providerId="ADAL" clId="{49A7651E-99A5-4375-B436-FECF63514F32}" dt="2022-12-22T12:32:19.560" v="3177" actId="1076"/>
          <ac:picMkLst>
            <pc:docMk/>
            <pc:sldMk cId="4050444738" sldId="1881838707"/>
            <ac:picMk id="50" creationId="{80DDB02F-12DD-4755-B458-78E5339535FB}"/>
          </ac:picMkLst>
        </pc:picChg>
        <pc:picChg chg="add del mod">
          <ac:chgData name="Cristina Garcia Gutierrez" userId="8eb4a680-c7b2-4ff3-b975-1efea2ff286e" providerId="ADAL" clId="{49A7651E-99A5-4375-B436-FECF63514F32}" dt="2022-12-22T12:31:46.643" v="3172" actId="478"/>
          <ac:picMkLst>
            <pc:docMk/>
            <pc:sldMk cId="4050444738" sldId="1881838707"/>
            <ac:picMk id="52" creationId="{7F39BFBA-1375-46C9-BFB5-072FFD4E340F}"/>
          </ac:picMkLst>
        </pc:picChg>
        <pc:picChg chg="add mod">
          <ac:chgData name="Cristina Garcia Gutierrez" userId="8eb4a680-c7b2-4ff3-b975-1efea2ff286e" providerId="ADAL" clId="{49A7651E-99A5-4375-B436-FECF63514F32}" dt="2022-12-22T12:32:19.560" v="3177" actId="1076"/>
          <ac:picMkLst>
            <pc:docMk/>
            <pc:sldMk cId="4050444738" sldId="1881838707"/>
            <ac:picMk id="60" creationId="{FEA319D5-7113-4F05-B941-AED38019B170}"/>
          </ac:picMkLst>
        </pc:picChg>
        <pc:picChg chg="add mod">
          <ac:chgData name="Cristina Garcia Gutierrez" userId="8eb4a680-c7b2-4ff3-b975-1efea2ff286e" providerId="ADAL" clId="{49A7651E-99A5-4375-B436-FECF63514F32}" dt="2022-12-22T11:41:27.269" v="1135" actId="1076"/>
          <ac:picMkLst>
            <pc:docMk/>
            <pc:sldMk cId="4050444738" sldId="1881838707"/>
            <ac:picMk id="5122" creationId="{7C0DC400-0E04-4474-ABA6-4DC7B58F7BC5}"/>
          </ac:picMkLst>
        </pc:picChg>
      </pc:sldChg>
      <pc:sldChg chg="del">
        <pc:chgData name="Cristina Garcia Gutierrez" userId="8eb4a680-c7b2-4ff3-b975-1efea2ff286e" providerId="ADAL" clId="{49A7651E-99A5-4375-B436-FECF63514F32}" dt="2022-12-22T01:57:39.499" v="91" actId="47"/>
        <pc:sldMkLst>
          <pc:docMk/>
          <pc:sldMk cId="2830836355" sldId="1881838709"/>
        </pc:sldMkLst>
      </pc:sldChg>
      <pc:sldChg chg="addSp modSp mod modNotesTx">
        <pc:chgData name="Cristina Garcia Gutierrez" userId="8eb4a680-c7b2-4ff3-b975-1efea2ff286e" providerId="ADAL" clId="{49A7651E-99A5-4375-B436-FECF63514F32}" dt="2022-12-22T14:28:15.605" v="3791" actId="20577"/>
        <pc:sldMkLst>
          <pc:docMk/>
          <pc:sldMk cId="1968689888" sldId="1881838710"/>
        </pc:sldMkLst>
        <pc:spChg chg="mod">
          <ac:chgData name="Cristina Garcia Gutierrez" userId="8eb4a680-c7b2-4ff3-b975-1efea2ff286e" providerId="ADAL" clId="{49A7651E-99A5-4375-B436-FECF63514F32}" dt="2022-12-22T12:45:09.548" v="3761" actId="20577"/>
          <ac:spMkLst>
            <pc:docMk/>
            <pc:sldMk cId="1968689888" sldId="1881838710"/>
            <ac:spMk id="13" creationId="{D6660D7B-B66D-4917-B92B-09672C4164DE}"/>
          </ac:spMkLst>
        </pc:spChg>
        <pc:spChg chg="mod">
          <ac:chgData name="Cristina Garcia Gutierrez" userId="8eb4a680-c7b2-4ff3-b975-1efea2ff286e" providerId="ADAL" clId="{49A7651E-99A5-4375-B436-FECF63514F32}" dt="2022-12-22T12:44:55.224" v="3751" actId="12"/>
          <ac:spMkLst>
            <pc:docMk/>
            <pc:sldMk cId="1968689888" sldId="1881838710"/>
            <ac:spMk id="14" creationId="{6D7E8E99-A13A-4D0B-8FD1-9F78D1994833}"/>
          </ac:spMkLst>
        </pc:spChg>
        <pc:spChg chg="add mod">
          <ac:chgData name="Cristina Garcia Gutierrez" userId="8eb4a680-c7b2-4ff3-b975-1efea2ff286e" providerId="ADAL" clId="{49A7651E-99A5-4375-B436-FECF63514F32}" dt="2022-12-22T14:28:12.364" v="3789" actId="20577"/>
          <ac:spMkLst>
            <pc:docMk/>
            <pc:sldMk cId="1968689888" sldId="1881838710"/>
            <ac:spMk id="15" creationId="{2F25AD8F-984F-4B89-A1CB-F6CF3BC7C7C2}"/>
          </ac:spMkLst>
        </pc:spChg>
        <pc:spChg chg="add mod">
          <ac:chgData name="Cristina Garcia Gutierrez" userId="8eb4a680-c7b2-4ff3-b975-1efea2ff286e" providerId="ADAL" clId="{49A7651E-99A5-4375-B436-FECF63514F32}" dt="2022-12-22T14:28:15.605" v="3791" actId="20577"/>
          <ac:spMkLst>
            <pc:docMk/>
            <pc:sldMk cId="1968689888" sldId="1881838710"/>
            <ac:spMk id="16" creationId="{0668038C-A39A-4BFB-92E2-C58B3F13F0EF}"/>
          </ac:spMkLst>
        </pc:spChg>
      </pc:sldChg>
      <pc:sldChg chg="del">
        <pc:chgData name="Cristina Garcia Gutierrez" userId="8eb4a680-c7b2-4ff3-b975-1efea2ff286e" providerId="ADAL" clId="{49A7651E-99A5-4375-B436-FECF63514F32}" dt="2022-12-22T12:25:42.068" v="2792" actId="47"/>
        <pc:sldMkLst>
          <pc:docMk/>
          <pc:sldMk cId="1344153958" sldId="1881838712"/>
        </pc:sldMkLst>
      </pc:sldChg>
      <pc:sldChg chg="addSp delSp modSp mod setBg setClrOvrMap modNotesTx">
        <pc:chgData name="Cristina Garcia Gutierrez" userId="8eb4a680-c7b2-4ff3-b975-1efea2ff286e" providerId="ADAL" clId="{49A7651E-99A5-4375-B436-FECF63514F32}" dt="2022-12-22T12:56:42.413" v="3770" actId="20577"/>
        <pc:sldMkLst>
          <pc:docMk/>
          <pc:sldMk cId="2636994289" sldId="1881838714"/>
        </pc:sldMkLst>
        <pc:spChg chg="del">
          <ac:chgData name="Cristina Garcia Gutierrez" userId="8eb4a680-c7b2-4ff3-b975-1efea2ff286e" providerId="ADAL" clId="{49A7651E-99A5-4375-B436-FECF63514F32}" dt="2022-12-22T11:02:08.835" v="636" actId="478"/>
          <ac:spMkLst>
            <pc:docMk/>
            <pc:sldMk cId="2636994289" sldId="1881838714"/>
            <ac:spMk id="2" creationId="{3F585B75-D8A9-4636-A5CA-809B7491EF3D}"/>
          </ac:spMkLst>
        </pc:spChg>
        <pc:spChg chg="del">
          <ac:chgData name="Cristina Garcia Gutierrez" userId="8eb4a680-c7b2-4ff3-b975-1efea2ff286e" providerId="ADAL" clId="{49A7651E-99A5-4375-B436-FECF63514F32}" dt="2022-12-22T11:02:11.055" v="638" actId="478"/>
          <ac:spMkLst>
            <pc:docMk/>
            <pc:sldMk cId="2636994289" sldId="1881838714"/>
            <ac:spMk id="3" creationId="{B1FC7AE9-E1A4-4628-9625-339CF00B310D}"/>
          </ac:spMkLst>
        </pc:spChg>
        <pc:spChg chg="add del mod">
          <ac:chgData name="Cristina Garcia Gutierrez" userId="8eb4a680-c7b2-4ff3-b975-1efea2ff286e" providerId="ADAL" clId="{49A7651E-99A5-4375-B436-FECF63514F32}" dt="2022-12-22T11:02:13.012" v="639" actId="478"/>
          <ac:spMkLst>
            <pc:docMk/>
            <pc:sldMk cId="2636994289" sldId="1881838714"/>
            <ac:spMk id="10" creationId="{88E7F4FD-E8C3-4B3F-9D30-69E6AD1EDC83}"/>
          </ac:spMkLst>
        </pc:spChg>
        <pc:spChg chg="add mod">
          <ac:chgData name="Cristina Garcia Gutierrez" userId="8eb4a680-c7b2-4ff3-b975-1efea2ff286e" providerId="ADAL" clId="{49A7651E-99A5-4375-B436-FECF63514F32}" dt="2022-12-22T11:04:34.431" v="683" actId="14100"/>
          <ac:spMkLst>
            <pc:docMk/>
            <pc:sldMk cId="2636994289" sldId="1881838714"/>
            <ac:spMk id="12" creationId="{908E0EC7-190B-4A82-B4B2-B40502AA6230}"/>
          </ac:spMkLst>
        </pc:spChg>
        <pc:spChg chg="add mod">
          <ac:chgData name="Cristina Garcia Gutierrez" userId="8eb4a680-c7b2-4ff3-b975-1efea2ff286e" providerId="ADAL" clId="{49A7651E-99A5-4375-B436-FECF63514F32}" dt="2022-12-22T11:04:48.801" v="687" actId="1076"/>
          <ac:spMkLst>
            <pc:docMk/>
            <pc:sldMk cId="2636994289" sldId="1881838714"/>
            <ac:spMk id="13" creationId="{C42AAD1A-F065-4725-8860-30F2E002DFA8}"/>
          </ac:spMkLst>
        </pc:spChg>
        <pc:spChg chg="add mod">
          <ac:chgData name="Cristina Garcia Gutierrez" userId="8eb4a680-c7b2-4ff3-b975-1efea2ff286e" providerId="ADAL" clId="{49A7651E-99A5-4375-B436-FECF63514F32}" dt="2022-12-22T11:04:58.144" v="689" actId="1076"/>
          <ac:spMkLst>
            <pc:docMk/>
            <pc:sldMk cId="2636994289" sldId="1881838714"/>
            <ac:spMk id="14" creationId="{A2C30F60-9954-4040-AC09-45DFC753486B}"/>
          </ac:spMkLst>
        </pc:spChg>
        <pc:spChg chg="add del mod">
          <ac:chgData name="Cristina Garcia Gutierrez" userId="8eb4a680-c7b2-4ff3-b975-1efea2ff286e" providerId="ADAL" clId="{49A7651E-99A5-4375-B436-FECF63514F32}" dt="2022-12-22T11:04:51.948" v="688" actId="478"/>
          <ac:spMkLst>
            <pc:docMk/>
            <pc:sldMk cId="2636994289" sldId="1881838714"/>
            <ac:spMk id="15" creationId="{BD0E30AF-A939-48C5-A2CD-F5FE71C0F157}"/>
          </ac:spMkLst>
        </pc:spChg>
        <pc:grpChg chg="ord">
          <ac:chgData name="Cristina Garcia Gutierrez" userId="8eb4a680-c7b2-4ff3-b975-1efea2ff286e" providerId="ADAL" clId="{49A7651E-99A5-4375-B436-FECF63514F32}" dt="2022-12-22T11:02:46.963" v="646" actId="26606"/>
          <ac:grpSpMkLst>
            <pc:docMk/>
            <pc:sldMk cId="2636994289" sldId="1881838714"/>
            <ac:grpSpMk id="4" creationId="{0E57036E-FFC2-499F-A708-84DED8A9653E}"/>
          </ac:grpSpMkLst>
        </pc:grpChg>
        <pc:picChg chg="add del mod modCrop">
          <ac:chgData name="Cristina Garcia Gutierrez" userId="8eb4a680-c7b2-4ff3-b975-1efea2ff286e" providerId="ADAL" clId="{49A7651E-99A5-4375-B436-FECF63514F32}" dt="2022-12-22T12:10:16.582" v="2188" actId="478"/>
          <ac:picMkLst>
            <pc:docMk/>
            <pc:sldMk cId="2636994289" sldId="1881838714"/>
            <ac:picMk id="8" creationId="{CE326DB9-9EB0-4961-BD9A-6C850CC86F41}"/>
          </ac:picMkLst>
        </pc:picChg>
        <pc:picChg chg="add mod">
          <ac:chgData name="Cristina Garcia Gutierrez" userId="8eb4a680-c7b2-4ff3-b975-1efea2ff286e" providerId="ADAL" clId="{49A7651E-99A5-4375-B436-FECF63514F32}" dt="2022-12-22T11:04:22.636" v="681" actId="1076"/>
          <ac:picMkLst>
            <pc:docMk/>
            <pc:sldMk cId="2636994289" sldId="1881838714"/>
            <ac:picMk id="11" creationId="{CE4EB99B-531C-4194-BE98-407A0898FEE4}"/>
          </ac:picMkLst>
        </pc:picChg>
        <pc:picChg chg="add del mod modCrop">
          <ac:chgData name="Cristina Garcia Gutierrez" userId="8eb4a680-c7b2-4ff3-b975-1efea2ff286e" providerId="ADAL" clId="{49A7651E-99A5-4375-B436-FECF63514F32}" dt="2022-12-22T12:11:12.820" v="2209" actId="478"/>
          <ac:picMkLst>
            <pc:docMk/>
            <pc:sldMk cId="2636994289" sldId="1881838714"/>
            <ac:picMk id="17" creationId="{DE3A514E-F14B-48D8-AB31-B01CB951B11A}"/>
          </ac:picMkLst>
        </pc:picChg>
        <pc:picChg chg="add del mod modCrop">
          <ac:chgData name="Cristina Garcia Gutierrez" userId="8eb4a680-c7b2-4ff3-b975-1efea2ff286e" providerId="ADAL" clId="{49A7651E-99A5-4375-B436-FECF63514F32}" dt="2022-12-22T12:22:43.915" v="2758" actId="478"/>
          <ac:picMkLst>
            <pc:docMk/>
            <pc:sldMk cId="2636994289" sldId="1881838714"/>
            <ac:picMk id="19" creationId="{4923FFD7-5872-4F27-AC07-2FE7B9AF21A9}"/>
          </ac:picMkLst>
        </pc:picChg>
        <pc:picChg chg="add mod modCrop">
          <ac:chgData name="Cristina Garcia Gutierrez" userId="8eb4a680-c7b2-4ff3-b975-1efea2ff286e" providerId="ADAL" clId="{49A7651E-99A5-4375-B436-FECF63514F32}" dt="2022-12-22T12:23:27.717" v="2776" actId="1035"/>
          <ac:picMkLst>
            <pc:docMk/>
            <pc:sldMk cId="2636994289" sldId="1881838714"/>
            <ac:picMk id="21" creationId="{3D37C7FF-7CEE-4D9C-BC6F-C1A914A6A83A}"/>
          </ac:picMkLst>
        </pc:picChg>
      </pc:sldChg>
      <pc:sldChg chg="addSp delSp modSp mod">
        <pc:chgData name="Cristina Garcia Gutierrez" userId="8eb4a680-c7b2-4ff3-b975-1efea2ff286e" providerId="ADAL" clId="{49A7651E-99A5-4375-B436-FECF63514F32}" dt="2022-12-22T12:29:01.684" v="2821" actId="1036"/>
        <pc:sldMkLst>
          <pc:docMk/>
          <pc:sldMk cId="2854829580" sldId="1881838716"/>
        </pc:sldMkLst>
        <pc:spChg chg="mod">
          <ac:chgData name="Cristina Garcia Gutierrez" userId="8eb4a680-c7b2-4ff3-b975-1efea2ff286e" providerId="ADAL" clId="{49A7651E-99A5-4375-B436-FECF63514F32}" dt="2022-12-22T11:12:12.602" v="777" actId="1076"/>
          <ac:spMkLst>
            <pc:docMk/>
            <pc:sldMk cId="2854829580" sldId="1881838716"/>
            <ac:spMk id="12" creationId="{FB57F511-C405-40CE-B627-41745E2AF9CC}"/>
          </ac:spMkLst>
        </pc:spChg>
        <pc:spChg chg="mod">
          <ac:chgData name="Cristina Garcia Gutierrez" userId="8eb4a680-c7b2-4ff3-b975-1efea2ff286e" providerId="ADAL" clId="{49A7651E-99A5-4375-B436-FECF63514F32}" dt="2022-12-22T11:07:50.847" v="709" actId="14100"/>
          <ac:spMkLst>
            <pc:docMk/>
            <pc:sldMk cId="2854829580" sldId="1881838716"/>
            <ac:spMk id="16" creationId="{30FFBAE3-AE5C-4E15-8E4C-05677B7517B2}"/>
          </ac:spMkLst>
        </pc:spChg>
        <pc:spChg chg="mod">
          <ac:chgData name="Cristina Garcia Gutierrez" userId="8eb4a680-c7b2-4ff3-b975-1efea2ff286e" providerId="ADAL" clId="{49A7651E-99A5-4375-B436-FECF63514F32}" dt="2022-12-22T11:17:25.048" v="982" actId="14100"/>
          <ac:spMkLst>
            <pc:docMk/>
            <pc:sldMk cId="2854829580" sldId="1881838716"/>
            <ac:spMk id="17" creationId="{5BB686C8-DC42-455E-904A-E5989F08F9EB}"/>
          </ac:spMkLst>
        </pc:spChg>
        <pc:spChg chg="mod">
          <ac:chgData name="Cristina Garcia Gutierrez" userId="8eb4a680-c7b2-4ff3-b975-1efea2ff286e" providerId="ADAL" clId="{49A7651E-99A5-4375-B436-FECF63514F32}" dt="2022-12-22T11:14:43.779" v="854" actId="404"/>
          <ac:spMkLst>
            <pc:docMk/>
            <pc:sldMk cId="2854829580" sldId="1881838716"/>
            <ac:spMk id="18" creationId="{A84D9C29-C526-46F1-9129-04DFAE009D3C}"/>
          </ac:spMkLst>
        </pc:spChg>
        <pc:spChg chg="mod">
          <ac:chgData name="Cristina Garcia Gutierrez" userId="8eb4a680-c7b2-4ff3-b975-1efea2ff286e" providerId="ADAL" clId="{49A7651E-99A5-4375-B436-FECF63514F32}" dt="2022-12-22T11:14:06.733" v="821" actId="1038"/>
          <ac:spMkLst>
            <pc:docMk/>
            <pc:sldMk cId="2854829580" sldId="1881838716"/>
            <ac:spMk id="19" creationId="{1007466D-6382-497B-A09E-F7E199E732C7}"/>
          </ac:spMkLst>
        </pc:spChg>
        <pc:spChg chg="mod">
          <ac:chgData name="Cristina Garcia Gutierrez" userId="8eb4a680-c7b2-4ff3-b975-1efea2ff286e" providerId="ADAL" clId="{49A7651E-99A5-4375-B436-FECF63514F32}" dt="2022-12-22T12:29:01.684" v="2821" actId="1036"/>
          <ac:spMkLst>
            <pc:docMk/>
            <pc:sldMk cId="2854829580" sldId="1881838716"/>
            <ac:spMk id="20" creationId="{DAF8603D-D520-470F-9AAA-C9541B9C05BB}"/>
          </ac:spMkLst>
        </pc:spChg>
        <pc:spChg chg="mod">
          <ac:chgData name="Cristina Garcia Gutierrez" userId="8eb4a680-c7b2-4ff3-b975-1efea2ff286e" providerId="ADAL" clId="{49A7651E-99A5-4375-B436-FECF63514F32}" dt="2022-12-22T11:17:42.503" v="990" actId="1036"/>
          <ac:spMkLst>
            <pc:docMk/>
            <pc:sldMk cId="2854829580" sldId="1881838716"/>
            <ac:spMk id="21" creationId="{D245A995-CA2A-416C-B4E2-02FB1BE62D89}"/>
          </ac:spMkLst>
        </pc:spChg>
        <pc:spChg chg="mod">
          <ac:chgData name="Cristina Garcia Gutierrez" userId="8eb4a680-c7b2-4ff3-b975-1efea2ff286e" providerId="ADAL" clId="{49A7651E-99A5-4375-B436-FECF63514F32}" dt="2022-12-22T11:08:06.397" v="718" actId="14100"/>
          <ac:spMkLst>
            <pc:docMk/>
            <pc:sldMk cId="2854829580" sldId="1881838716"/>
            <ac:spMk id="22" creationId="{CB0A3856-29C0-49E9-90E0-E500BDE5AB09}"/>
          </ac:spMkLst>
        </pc:spChg>
        <pc:spChg chg="mod">
          <ac:chgData name="Cristina Garcia Gutierrez" userId="8eb4a680-c7b2-4ff3-b975-1efea2ff286e" providerId="ADAL" clId="{49A7651E-99A5-4375-B436-FECF63514F32}" dt="2022-12-22T11:17:30.999" v="983" actId="14100"/>
          <ac:spMkLst>
            <pc:docMk/>
            <pc:sldMk cId="2854829580" sldId="1881838716"/>
            <ac:spMk id="23" creationId="{067F9CD2-BE1A-46A8-B39F-4AC4FF914227}"/>
          </ac:spMkLst>
        </pc:spChg>
        <pc:spChg chg="del">
          <ac:chgData name="Cristina Garcia Gutierrez" userId="8eb4a680-c7b2-4ff3-b975-1efea2ff286e" providerId="ADAL" clId="{49A7651E-99A5-4375-B436-FECF63514F32}" dt="2022-12-22T11:07:01.368" v="704" actId="478"/>
          <ac:spMkLst>
            <pc:docMk/>
            <pc:sldMk cId="2854829580" sldId="1881838716"/>
            <ac:spMk id="24" creationId="{38AA6E10-A41F-4F33-A7E5-E6CB4772F09F}"/>
          </ac:spMkLst>
        </pc:spChg>
        <pc:spChg chg="del">
          <ac:chgData name="Cristina Garcia Gutierrez" userId="8eb4a680-c7b2-4ff3-b975-1efea2ff286e" providerId="ADAL" clId="{49A7651E-99A5-4375-B436-FECF63514F32}" dt="2022-12-22T11:07:01.368" v="704" actId="478"/>
          <ac:spMkLst>
            <pc:docMk/>
            <pc:sldMk cId="2854829580" sldId="1881838716"/>
            <ac:spMk id="25" creationId="{827CDF4F-4CE4-41CE-BB28-82555EF14E12}"/>
          </ac:spMkLst>
        </pc:spChg>
        <pc:spChg chg="del mod">
          <ac:chgData name="Cristina Garcia Gutierrez" userId="8eb4a680-c7b2-4ff3-b975-1efea2ff286e" providerId="ADAL" clId="{49A7651E-99A5-4375-B436-FECF63514F32}" dt="2022-12-22T11:06:44.768" v="703"/>
          <ac:spMkLst>
            <pc:docMk/>
            <pc:sldMk cId="2854829580" sldId="1881838716"/>
            <ac:spMk id="26" creationId="{269A3021-8FB2-47C1-A873-27186BAB5F7E}"/>
          </ac:spMkLst>
        </pc:spChg>
        <pc:spChg chg="del">
          <ac:chgData name="Cristina Garcia Gutierrez" userId="8eb4a680-c7b2-4ff3-b975-1efea2ff286e" providerId="ADAL" clId="{49A7651E-99A5-4375-B436-FECF63514F32}" dt="2022-12-22T11:07:01.368" v="704" actId="478"/>
          <ac:spMkLst>
            <pc:docMk/>
            <pc:sldMk cId="2854829580" sldId="1881838716"/>
            <ac:spMk id="27" creationId="{78D273D1-DAA4-4892-9D91-8953491F16CE}"/>
          </ac:spMkLst>
        </pc:spChg>
        <pc:spChg chg="del">
          <ac:chgData name="Cristina Garcia Gutierrez" userId="8eb4a680-c7b2-4ff3-b975-1efea2ff286e" providerId="ADAL" clId="{49A7651E-99A5-4375-B436-FECF63514F32}" dt="2022-12-22T11:07:01.368" v="704" actId="478"/>
          <ac:spMkLst>
            <pc:docMk/>
            <pc:sldMk cId="2854829580" sldId="1881838716"/>
            <ac:spMk id="28" creationId="{0DD61B03-630B-4318-AF84-1C167302BC51}"/>
          </ac:spMkLst>
        </pc:spChg>
        <pc:spChg chg="del">
          <ac:chgData name="Cristina Garcia Gutierrez" userId="8eb4a680-c7b2-4ff3-b975-1efea2ff286e" providerId="ADAL" clId="{49A7651E-99A5-4375-B436-FECF63514F32}" dt="2022-12-22T11:07:01.368" v="704" actId="478"/>
          <ac:spMkLst>
            <pc:docMk/>
            <pc:sldMk cId="2854829580" sldId="1881838716"/>
            <ac:spMk id="29" creationId="{0634D939-77F1-4CD4-AC1B-716B774A88C1}"/>
          </ac:spMkLst>
        </pc:spChg>
        <pc:spChg chg="del">
          <ac:chgData name="Cristina Garcia Gutierrez" userId="8eb4a680-c7b2-4ff3-b975-1efea2ff286e" providerId="ADAL" clId="{49A7651E-99A5-4375-B436-FECF63514F32}" dt="2022-12-22T11:07:01.368" v="704" actId="478"/>
          <ac:spMkLst>
            <pc:docMk/>
            <pc:sldMk cId="2854829580" sldId="1881838716"/>
            <ac:spMk id="30" creationId="{86B7BBB6-57AC-4417-ACAF-52CCAE18EF7B}"/>
          </ac:spMkLst>
        </pc:spChg>
        <pc:spChg chg="del">
          <ac:chgData name="Cristina Garcia Gutierrez" userId="8eb4a680-c7b2-4ff3-b975-1efea2ff286e" providerId="ADAL" clId="{49A7651E-99A5-4375-B436-FECF63514F32}" dt="2022-12-22T11:07:01.368" v="704" actId="478"/>
          <ac:spMkLst>
            <pc:docMk/>
            <pc:sldMk cId="2854829580" sldId="1881838716"/>
            <ac:spMk id="31" creationId="{1E1E7185-B268-499C-902C-D60C4D81D099}"/>
          </ac:spMkLst>
        </pc:spChg>
        <pc:spChg chg="add mod">
          <ac:chgData name="Cristina Garcia Gutierrez" userId="8eb4a680-c7b2-4ff3-b975-1efea2ff286e" providerId="ADAL" clId="{49A7651E-99A5-4375-B436-FECF63514F32}" dt="2022-12-22T11:17:35.014" v="984" actId="14100"/>
          <ac:spMkLst>
            <pc:docMk/>
            <pc:sldMk cId="2854829580" sldId="1881838716"/>
            <ac:spMk id="35" creationId="{CD14D035-CDC9-47E6-9AEB-AE5827237CFD}"/>
          </ac:spMkLst>
        </pc:spChg>
        <pc:spChg chg="add mod">
          <ac:chgData name="Cristina Garcia Gutierrez" userId="8eb4a680-c7b2-4ff3-b975-1efea2ff286e" providerId="ADAL" clId="{49A7651E-99A5-4375-B436-FECF63514F32}" dt="2022-12-22T11:14:41.208" v="853" actId="255"/>
          <ac:spMkLst>
            <pc:docMk/>
            <pc:sldMk cId="2854829580" sldId="1881838716"/>
            <ac:spMk id="36" creationId="{E32B2F49-E123-4F0B-982C-6FCAB7ECB539}"/>
          </ac:spMkLst>
        </pc:spChg>
        <pc:spChg chg="add del mod">
          <ac:chgData name="Cristina Garcia Gutierrez" userId="8eb4a680-c7b2-4ff3-b975-1efea2ff286e" providerId="ADAL" clId="{49A7651E-99A5-4375-B436-FECF63514F32}" dt="2022-12-22T11:08:42.413" v="739" actId="478"/>
          <ac:spMkLst>
            <pc:docMk/>
            <pc:sldMk cId="2854829580" sldId="1881838716"/>
            <ac:spMk id="41" creationId="{52955548-C494-45E9-81A2-83BD4874A403}"/>
          </ac:spMkLst>
        </pc:spChg>
        <pc:spChg chg="add mod">
          <ac:chgData name="Cristina Garcia Gutierrez" userId="8eb4a680-c7b2-4ff3-b975-1efea2ff286e" providerId="ADAL" clId="{49A7651E-99A5-4375-B436-FECF63514F32}" dt="2022-12-22T11:15:34.386" v="901" actId="1036"/>
          <ac:spMkLst>
            <pc:docMk/>
            <pc:sldMk cId="2854829580" sldId="1881838716"/>
            <ac:spMk id="42" creationId="{04BEC945-BB1A-40CD-93DA-E4C187613F53}"/>
          </ac:spMkLst>
        </pc:spChg>
        <pc:spChg chg="add mod">
          <ac:chgData name="Cristina Garcia Gutierrez" userId="8eb4a680-c7b2-4ff3-b975-1efea2ff286e" providerId="ADAL" clId="{49A7651E-99A5-4375-B436-FECF63514F32}" dt="2022-12-22T11:17:38.490" v="985" actId="14100"/>
          <ac:spMkLst>
            <pc:docMk/>
            <pc:sldMk cId="2854829580" sldId="1881838716"/>
            <ac:spMk id="43" creationId="{74C756D6-1DE9-47D3-8332-70DEA020474A}"/>
          </ac:spMkLst>
        </pc:spChg>
        <pc:cxnChg chg="del">
          <ac:chgData name="Cristina Garcia Gutierrez" userId="8eb4a680-c7b2-4ff3-b975-1efea2ff286e" providerId="ADAL" clId="{49A7651E-99A5-4375-B436-FECF63514F32}" dt="2022-12-22T11:07:01.368" v="704" actId="478"/>
          <ac:cxnSpMkLst>
            <pc:docMk/>
            <pc:sldMk cId="2854829580" sldId="1881838716"/>
            <ac:cxnSpMk id="32" creationId="{D28638D5-1EBC-47DD-ABC5-4A7B9BACD4E7}"/>
          </ac:cxnSpMkLst>
        </pc:cxnChg>
      </pc:sldChg>
      <pc:sldChg chg="addSp delSp modSp add del mod">
        <pc:chgData name="Cristina Garcia Gutierrez" userId="8eb4a680-c7b2-4ff3-b975-1efea2ff286e" providerId="ADAL" clId="{49A7651E-99A5-4375-B436-FECF63514F32}" dt="2022-12-22T12:18:16.875" v="2328" actId="47"/>
        <pc:sldMkLst>
          <pc:docMk/>
          <pc:sldMk cId="1497827375" sldId="1881838717"/>
        </pc:sldMkLst>
        <pc:picChg chg="add del mod">
          <ac:chgData name="Cristina Garcia Gutierrez" userId="8eb4a680-c7b2-4ff3-b975-1efea2ff286e" providerId="ADAL" clId="{49A7651E-99A5-4375-B436-FECF63514F32}" dt="2022-12-22T12:12:44.342" v="2222" actId="21"/>
          <ac:picMkLst>
            <pc:docMk/>
            <pc:sldMk cId="1497827375" sldId="1881838717"/>
            <ac:picMk id="8" creationId="{CA80CCF4-CF5C-4252-8852-68B850AB8866}"/>
          </ac:picMkLst>
        </pc:picChg>
      </pc:sldChg>
      <pc:sldChg chg="del">
        <pc:chgData name="Cristina Garcia Gutierrez" userId="8eb4a680-c7b2-4ff3-b975-1efea2ff286e" providerId="ADAL" clId="{49A7651E-99A5-4375-B436-FECF63514F32}" dt="2022-12-22T01:57:37.636" v="90" actId="47"/>
        <pc:sldMkLst>
          <pc:docMk/>
          <pc:sldMk cId="2217093007" sldId="1881838717"/>
        </pc:sldMkLst>
      </pc:sldChg>
      <pc:sldChg chg="addSp delSp modSp add mod">
        <pc:chgData name="Cristina Garcia Gutierrez" userId="8eb4a680-c7b2-4ff3-b975-1efea2ff286e" providerId="ADAL" clId="{49A7651E-99A5-4375-B436-FECF63514F32}" dt="2022-12-22T12:25:29.267" v="2791" actId="1076"/>
        <pc:sldMkLst>
          <pc:docMk/>
          <pc:sldMk cId="1955140030" sldId="1881838718"/>
        </pc:sldMkLst>
        <pc:spChg chg="del">
          <ac:chgData name="Cristina Garcia Gutierrez" userId="8eb4a680-c7b2-4ff3-b975-1efea2ff286e" providerId="ADAL" clId="{49A7651E-99A5-4375-B436-FECF63514F32}" dt="2022-12-22T12:12:41.743" v="2221" actId="478"/>
          <ac:spMkLst>
            <pc:docMk/>
            <pc:sldMk cId="1955140030" sldId="1881838718"/>
            <ac:spMk id="10" creationId="{A5AF0BBB-1ADC-4529-A188-CE5FEFDF30C5}"/>
          </ac:spMkLst>
        </pc:spChg>
        <pc:spChg chg="mod">
          <ac:chgData name="Cristina Garcia Gutierrez" userId="8eb4a680-c7b2-4ff3-b975-1efea2ff286e" providerId="ADAL" clId="{49A7651E-99A5-4375-B436-FECF63514F32}" dt="2022-12-22T12:13:16.692" v="2257" actId="1076"/>
          <ac:spMkLst>
            <pc:docMk/>
            <pc:sldMk cId="1955140030" sldId="1881838718"/>
            <ac:spMk id="12" creationId="{F8437A2E-EABC-41F2-BE25-3976F4E299D5}"/>
          </ac:spMkLst>
        </pc:spChg>
        <pc:spChg chg="mod">
          <ac:chgData name="Cristina Garcia Gutierrez" userId="8eb4a680-c7b2-4ff3-b975-1efea2ff286e" providerId="ADAL" clId="{49A7651E-99A5-4375-B436-FECF63514F32}" dt="2022-12-22T12:13:06.768" v="2254" actId="1076"/>
          <ac:spMkLst>
            <pc:docMk/>
            <pc:sldMk cId="1955140030" sldId="1881838718"/>
            <ac:spMk id="13" creationId="{A64020C9-170A-47E0-BCE6-307F8396DBC2}"/>
          </ac:spMkLst>
        </pc:spChg>
        <pc:spChg chg="del">
          <ac:chgData name="Cristina Garcia Gutierrez" userId="8eb4a680-c7b2-4ff3-b975-1efea2ff286e" providerId="ADAL" clId="{49A7651E-99A5-4375-B436-FECF63514F32}" dt="2022-12-22T12:12:41.743" v="2221" actId="478"/>
          <ac:spMkLst>
            <pc:docMk/>
            <pc:sldMk cId="1955140030" sldId="1881838718"/>
            <ac:spMk id="14" creationId="{FF0DF381-CA78-4F99-9DB6-02129967CC9E}"/>
          </ac:spMkLst>
        </pc:spChg>
        <pc:spChg chg="del">
          <ac:chgData name="Cristina Garcia Gutierrez" userId="8eb4a680-c7b2-4ff3-b975-1efea2ff286e" providerId="ADAL" clId="{49A7651E-99A5-4375-B436-FECF63514F32}" dt="2022-12-22T12:12:41.743" v="2221" actId="478"/>
          <ac:spMkLst>
            <pc:docMk/>
            <pc:sldMk cId="1955140030" sldId="1881838718"/>
            <ac:spMk id="15" creationId="{5BEF5801-18A3-42E1-A326-FBEF7343F435}"/>
          </ac:spMkLst>
        </pc:spChg>
        <pc:spChg chg="add del">
          <ac:chgData name="Cristina Garcia Gutierrez" userId="8eb4a680-c7b2-4ff3-b975-1efea2ff286e" providerId="ADAL" clId="{49A7651E-99A5-4375-B436-FECF63514F32}" dt="2022-12-22T12:13:12.436" v="2256" actId="478"/>
          <ac:spMkLst>
            <pc:docMk/>
            <pc:sldMk cId="1955140030" sldId="1881838718"/>
            <ac:spMk id="16" creationId="{234368DB-97CF-43F4-A497-E01E37AEFE4A}"/>
          </ac:spMkLst>
        </pc:spChg>
        <pc:spChg chg="add mod">
          <ac:chgData name="Cristina Garcia Gutierrez" userId="8eb4a680-c7b2-4ff3-b975-1efea2ff286e" providerId="ADAL" clId="{49A7651E-99A5-4375-B436-FECF63514F32}" dt="2022-12-22T12:14:12.343" v="2283" actId="1076"/>
          <ac:spMkLst>
            <pc:docMk/>
            <pc:sldMk cId="1955140030" sldId="1881838718"/>
            <ac:spMk id="18" creationId="{21271A2F-47D3-4649-933A-11682BD0F636}"/>
          </ac:spMkLst>
        </pc:spChg>
        <pc:spChg chg="add mod">
          <ac:chgData name="Cristina Garcia Gutierrez" userId="8eb4a680-c7b2-4ff3-b975-1efea2ff286e" providerId="ADAL" clId="{49A7651E-99A5-4375-B436-FECF63514F32}" dt="2022-12-22T12:14:52.081" v="2294" actId="1035"/>
          <ac:spMkLst>
            <pc:docMk/>
            <pc:sldMk cId="1955140030" sldId="1881838718"/>
            <ac:spMk id="19" creationId="{0F0ADD93-471C-46AE-BADA-4188321309FF}"/>
          </ac:spMkLst>
        </pc:spChg>
        <pc:spChg chg="del">
          <ac:chgData name="Cristina Garcia Gutierrez" userId="8eb4a680-c7b2-4ff3-b975-1efea2ff286e" providerId="ADAL" clId="{49A7651E-99A5-4375-B436-FECF63514F32}" dt="2022-12-22T12:12:41.743" v="2221" actId="478"/>
          <ac:spMkLst>
            <pc:docMk/>
            <pc:sldMk cId="1955140030" sldId="1881838718"/>
            <ac:spMk id="20" creationId="{500B939E-7460-4643-A68B-952621156AA0}"/>
          </ac:spMkLst>
        </pc:spChg>
        <pc:spChg chg="add mod">
          <ac:chgData name="Cristina Garcia Gutierrez" userId="8eb4a680-c7b2-4ff3-b975-1efea2ff286e" providerId="ADAL" clId="{49A7651E-99A5-4375-B436-FECF63514F32}" dt="2022-12-22T12:15:47.485" v="2322" actId="1076"/>
          <ac:spMkLst>
            <pc:docMk/>
            <pc:sldMk cId="1955140030" sldId="1881838718"/>
            <ac:spMk id="24" creationId="{842F43D3-79D9-4B27-BF46-6A868AD604F7}"/>
          </ac:spMkLst>
        </pc:spChg>
        <pc:picChg chg="add del mod">
          <ac:chgData name="Cristina Garcia Gutierrez" userId="8eb4a680-c7b2-4ff3-b975-1efea2ff286e" providerId="ADAL" clId="{49A7651E-99A5-4375-B436-FECF63514F32}" dt="2022-12-22T12:18:11.823" v="2326" actId="478"/>
          <ac:picMkLst>
            <pc:docMk/>
            <pc:sldMk cId="1955140030" sldId="1881838718"/>
            <ac:picMk id="5" creationId="{EF25D5A1-AB99-4A54-9913-29D57AA909AA}"/>
          </ac:picMkLst>
        </pc:picChg>
        <pc:picChg chg="add del mod">
          <ac:chgData name="Cristina Garcia Gutierrez" userId="8eb4a680-c7b2-4ff3-b975-1efea2ff286e" providerId="ADAL" clId="{49A7651E-99A5-4375-B436-FECF63514F32}" dt="2022-12-22T12:24:35.679" v="2783" actId="478"/>
          <ac:picMkLst>
            <pc:docMk/>
            <pc:sldMk cId="1955140030" sldId="1881838718"/>
            <ac:picMk id="7" creationId="{2B2D57E2-37DE-4055-BC76-ADF4F53962BB}"/>
          </ac:picMkLst>
        </pc:picChg>
        <pc:picChg chg="del">
          <ac:chgData name="Cristina Garcia Gutierrez" userId="8eb4a680-c7b2-4ff3-b975-1efea2ff286e" providerId="ADAL" clId="{49A7651E-99A5-4375-B436-FECF63514F32}" dt="2022-12-22T12:12:39.602" v="2220" actId="478"/>
          <ac:picMkLst>
            <pc:docMk/>
            <pc:sldMk cId="1955140030" sldId="1881838718"/>
            <ac:picMk id="11" creationId="{0E666D21-6E8C-42A1-855E-4BA36FC0FC43}"/>
          </ac:picMkLst>
        </pc:picChg>
        <pc:picChg chg="add mod">
          <ac:chgData name="Cristina Garcia Gutierrez" userId="8eb4a680-c7b2-4ff3-b975-1efea2ff286e" providerId="ADAL" clId="{49A7651E-99A5-4375-B436-FECF63514F32}" dt="2022-12-22T12:14:17.461" v="2285" actId="14100"/>
          <ac:picMkLst>
            <pc:docMk/>
            <pc:sldMk cId="1955140030" sldId="1881838718"/>
            <ac:picMk id="17" creationId="{D6FCB07C-95C2-4FD0-9CA1-AA4D21C6EE17}"/>
          </ac:picMkLst>
        </pc:picChg>
        <pc:picChg chg="add mod modCrop">
          <ac:chgData name="Cristina Garcia Gutierrez" userId="8eb4a680-c7b2-4ff3-b975-1efea2ff286e" providerId="ADAL" clId="{49A7651E-99A5-4375-B436-FECF63514F32}" dt="2022-12-22T12:25:29.267" v="2791" actId="1076"/>
          <ac:picMkLst>
            <pc:docMk/>
            <pc:sldMk cId="1955140030" sldId="1881838718"/>
            <ac:picMk id="25" creationId="{19BB11CA-5133-43A4-BDA1-54CCF8B2B1EB}"/>
          </ac:picMkLst>
        </pc:picChg>
        <pc:cxnChg chg="add mod">
          <ac:chgData name="Cristina Garcia Gutierrez" userId="8eb4a680-c7b2-4ff3-b975-1efea2ff286e" providerId="ADAL" clId="{49A7651E-99A5-4375-B436-FECF63514F32}" dt="2022-12-22T12:15:22.453" v="2307" actId="693"/>
          <ac:cxnSpMkLst>
            <pc:docMk/>
            <pc:sldMk cId="1955140030" sldId="1881838718"/>
            <ac:cxnSpMk id="3" creationId="{1D1FEE18-6BCB-4F1F-92E6-1AA3944C47E6}"/>
          </ac:cxnSpMkLst>
        </pc:cxnChg>
      </pc:sldChg>
      <pc:sldChg chg="add del">
        <pc:chgData name="Cristina Garcia Gutierrez" userId="8eb4a680-c7b2-4ff3-b975-1efea2ff286e" providerId="ADAL" clId="{49A7651E-99A5-4375-B436-FECF63514F32}" dt="2022-12-22T08:02:45.989" v="167" actId="47"/>
        <pc:sldMkLst>
          <pc:docMk/>
          <pc:sldMk cId="3665349334" sldId="1881838718"/>
        </pc:sldMkLst>
      </pc:sldChg>
      <pc:sldChg chg="addSp delSp modSp add mod modNotesTx">
        <pc:chgData name="Cristina Garcia Gutierrez" userId="8eb4a680-c7b2-4ff3-b975-1efea2ff286e" providerId="ADAL" clId="{49A7651E-99A5-4375-B436-FECF63514F32}" dt="2022-12-22T12:56:36.853" v="3768" actId="20577"/>
        <pc:sldMkLst>
          <pc:docMk/>
          <pc:sldMk cId="1799754400" sldId="1881838719"/>
        </pc:sldMkLst>
        <pc:spChg chg="del">
          <ac:chgData name="Cristina Garcia Gutierrez" userId="8eb4a680-c7b2-4ff3-b975-1efea2ff286e" providerId="ADAL" clId="{49A7651E-99A5-4375-B436-FECF63514F32}" dt="2022-12-22T12:18:22.349" v="2330" actId="478"/>
          <ac:spMkLst>
            <pc:docMk/>
            <pc:sldMk cId="1799754400" sldId="1881838719"/>
            <ac:spMk id="18" creationId="{21271A2F-47D3-4649-933A-11682BD0F636}"/>
          </ac:spMkLst>
        </pc:spChg>
        <pc:spChg chg="del">
          <ac:chgData name="Cristina Garcia Gutierrez" userId="8eb4a680-c7b2-4ff3-b975-1efea2ff286e" providerId="ADAL" clId="{49A7651E-99A5-4375-B436-FECF63514F32}" dt="2022-12-22T12:18:22.349" v="2330" actId="478"/>
          <ac:spMkLst>
            <pc:docMk/>
            <pc:sldMk cId="1799754400" sldId="1881838719"/>
            <ac:spMk id="19" creationId="{0F0ADD93-471C-46AE-BADA-4188321309FF}"/>
          </ac:spMkLst>
        </pc:spChg>
        <pc:spChg chg="del">
          <ac:chgData name="Cristina Garcia Gutierrez" userId="8eb4a680-c7b2-4ff3-b975-1efea2ff286e" providerId="ADAL" clId="{49A7651E-99A5-4375-B436-FECF63514F32}" dt="2022-12-22T12:18:22.349" v="2330" actId="478"/>
          <ac:spMkLst>
            <pc:docMk/>
            <pc:sldMk cId="1799754400" sldId="1881838719"/>
            <ac:spMk id="24" creationId="{842F43D3-79D9-4B27-BF46-6A868AD604F7}"/>
          </ac:spMkLst>
        </pc:spChg>
        <pc:picChg chg="add mod">
          <ac:chgData name="Cristina Garcia Gutierrez" userId="8eb4a680-c7b2-4ff3-b975-1efea2ff286e" providerId="ADAL" clId="{49A7651E-99A5-4375-B436-FECF63514F32}" dt="2022-12-22T12:19:07.835" v="2336" actId="1076"/>
          <ac:picMkLst>
            <pc:docMk/>
            <pc:sldMk cId="1799754400" sldId="1881838719"/>
            <ac:picMk id="4" creationId="{69DF5693-8F84-444A-B022-E71F96595E11}"/>
          </ac:picMkLst>
        </pc:picChg>
        <pc:picChg chg="del">
          <ac:chgData name="Cristina Garcia Gutierrez" userId="8eb4a680-c7b2-4ff3-b975-1efea2ff286e" providerId="ADAL" clId="{49A7651E-99A5-4375-B436-FECF63514F32}" dt="2022-12-22T12:18:19.765" v="2329" actId="478"/>
          <ac:picMkLst>
            <pc:docMk/>
            <pc:sldMk cId="1799754400" sldId="1881838719"/>
            <ac:picMk id="17" creationId="{D6FCB07C-95C2-4FD0-9CA1-AA4D21C6EE17}"/>
          </ac:picMkLst>
        </pc:picChg>
        <pc:cxnChg chg="del">
          <ac:chgData name="Cristina Garcia Gutierrez" userId="8eb4a680-c7b2-4ff3-b975-1efea2ff286e" providerId="ADAL" clId="{49A7651E-99A5-4375-B436-FECF63514F32}" dt="2022-12-22T12:18:22.349" v="2330" actId="478"/>
          <ac:cxnSpMkLst>
            <pc:docMk/>
            <pc:sldMk cId="1799754400" sldId="1881838719"/>
            <ac:cxnSpMk id="3" creationId="{1D1FEE18-6BCB-4F1F-92E6-1AA3944C47E6}"/>
          </ac:cxnSpMkLst>
        </pc:cxnChg>
      </pc:sldChg>
      <pc:sldChg chg="add del">
        <pc:chgData name="Cristina Garcia Gutierrez" userId="8eb4a680-c7b2-4ff3-b975-1efea2ff286e" providerId="ADAL" clId="{49A7651E-99A5-4375-B436-FECF63514F32}" dt="2022-12-22T12:18:25.208" v="2332"/>
        <pc:sldMkLst>
          <pc:docMk/>
          <pc:sldMk cId="2242870708" sldId="1881838720"/>
        </pc:sldMkLst>
      </pc:sldChg>
      <pc:sldChg chg="addSp delSp modSp add mod modNotesTx">
        <pc:chgData name="Cristina Garcia Gutierrez" userId="8eb4a680-c7b2-4ff3-b975-1efea2ff286e" providerId="ADAL" clId="{49A7651E-99A5-4375-B436-FECF63514F32}" dt="2022-12-22T12:56:39.687" v="3769" actId="20577"/>
        <pc:sldMkLst>
          <pc:docMk/>
          <pc:sldMk cId="2975625236" sldId="1881838720"/>
        </pc:sldMkLst>
        <pc:spChg chg="mod">
          <ac:chgData name="Cristina Garcia Gutierrez" userId="8eb4a680-c7b2-4ff3-b975-1efea2ff286e" providerId="ADAL" clId="{49A7651E-99A5-4375-B436-FECF63514F32}" dt="2022-12-22T12:41:38.973" v="3729" actId="20577"/>
          <ac:spMkLst>
            <pc:docMk/>
            <pc:sldMk cId="2975625236" sldId="1881838720"/>
            <ac:spMk id="12" creationId="{F8437A2E-EABC-41F2-BE25-3976F4E299D5}"/>
          </ac:spMkLst>
        </pc:spChg>
        <pc:spChg chg="add mod">
          <ac:chgData name="Cristina Garcia Gutierrez" userId="8eb4a680-c7b2-4ff3-b975-1efea2ff286e" providerId="ADAL" clId="{49A7651E-99A5-4375-B436-FECF63514F32}" dt="2022-12-22T12:41:22.356" v="3722" actId="1076"/>
          <ac:spMkLst>
            <pc:docMk/>
            <pc:sldMk cId="2975625236" sldId="1881838720"/>
            <ac:spMk id="14" creationId="{D175796E-2B63-4BA8-85E4-A241B291B639}"/>
          </ac:spMkLst>
        </pc:spChg>
        <pc:picChg chg="add mod">
          <ac:chgData name="Cristina Garcia Gutierrez" userId="8eb4a680-c7b2-4ff3-b975-1efea2ff286e" providerId="ADAL" clId="{49A7651E-99A5-4375-B436-FECF63514F32}" dt="2022-12-22T12:37:57.723" v="3575" actId="1076"/>
          <ac:picMkLst>
            <pc:docMk/>
            <pc:sldMk cId="2975625236" sldId="1881838720"/>
            <ac:picMk id="3" creationId="{D2C01408-F5D7-4912-BE24-B1266570C8C7}"/>
          </ac:picMkLst>
        </pc:picChg>
        <pc:picChg chg="del">
          <ac:chgData name="Cristina Garcia Gutierrez" userId="8eb4a680-c7b2-4ff3-b975-1efea2ff286e" providerId="ADAL" clId="{49A7651E-99A5-4375-B436-FECF63514F32}" dt="2022-12-22T12:36:51.581" v="3515" actId="478"/>
          <ac:picMkLst>
            <pc:docMk/>
            <pc:sldMk cId="2975625236" sldId="1881838720"/>
            <ac:picMk id="4" creationId="{69DF5693-8F84-444A-B022-E71F96595E11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41096F-6638-41A3-AE91-EF3F49B6BE6C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CDD170-89B3-4AF7-99A8-E5428F069992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985406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CDD170-89B3-4AF7-99A8-E5428F069992}" type="slidenum">
              <a:rPr lang="es-ES" smtClean="0"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238034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CDD170-89B3-4AF7-99A8-E5428F069992}" type="slidenum">
              <a:rPr lang="es-ES" smtClean="0"/>
              <a:t>1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851043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CDD170-89B3-4AF7-99A8-E5428F069992}" type="slidenum">
              <a:rPr lang="es-ES" smtClean="0"/>
              <a:t>1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635707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CDD170-89B3-4AF7-99A8-E5428F069992}" type="slidenum">
              <a:rPr lang="es-ES" smtClean="0"/>
              <a:t>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340022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CDD170-89B3-4AF7-99A8-E5428F069992}" type="slidenum">
              <a:rPr lang="es-ES" smtClean="0"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240572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CDD170-89B3-4AF7-99A8-E5428F069992}" type="slidenum">
              <a:rPr lang="es-ES" smtClean="0"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421514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CDD170-89B3-4AF7-99A8-E5428F069992}" type="slidenum">
              <a:rPr lang="es-ES" smtClean="0"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631682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CDD170-89B3-4AF7-99A8-E5428F069992}" type="slidenum">
              <a:rPr lang="es-ES" smtClean="0"/>
              <a:t>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622206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CDD170-89B3-4AF7-99A8-E5428F069992}" type="slidenum">
              <a:rPr lang="es-ES" smtClean="0"/>
              <a:t>1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371963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CDD170-89B3-4AF7-99A8-E5428F069992}" type="slidenum">
              <a:rPr lang="es-ES" smtClean="0"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367576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CDD170-89B3-4AF7-99A8-E5428F069992}" type="slidenum">
              <a:rPr lang="es-ES" smtClean="0"/>
              <a:t>1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406558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424A16-9776-4BC9-9958-B12066370A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F459E75-3C90-4810-877C-CBB798E1969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D97CBE-7082-4635-9F11-0DF3F5AC5F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31E9A-8016-4980-860C-F72AA30E9F4F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A78434-A26F-441E-AAC5-8E00C48D86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43F91D-033C-4151-9755-F885B4E095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1A8A7-3A76-4C75-A149-F29D817840D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548150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73BC1B-2E2D-40E9-90DF-BCF6A28F8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5D6097-9172-4491-B4A6-3919853245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CD7F8C-BF59-4B8D-8B39-36F508C37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31E9A-8016-4980-860C-F72AA30E9F4F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68AA58-7F8E-4807-9213-BA4E644DA4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DC07FA-4F21-440D-B854-EE2235FE7B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1A8A7-3A76-4C75-A149-F29D817840D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538445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4A35081-5F7B-4D31-877D-85CE5906326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B9E9BBE-8EAA-4CC9-8FC4-AF45D7168FA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556436-9DA6-41F2-9BD5-8C105F8024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31E9A-8016-4980-860C-F72AA30E9F4F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2C4EDA-3330-424F-BC55-FB080DCC3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059A49-A0F8-4756-A7AC-F89768023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1A8A7-3A76-4C75-A149-F29D817840D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497019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7591A49-7FFA-4990-BBC5-982E65BA7057}" type="datetime3">
              <a:rPr lang="de-DE" smtClean="0"/>
              <a:pPr/>
              <a:t>22/12/22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EY DE PPT Gallery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F1BC30E3-FFE5-4B91-AA19-87A149EBB9E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599" y="1137921"/>
            <a:ext cx="3450696" cy="9134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 dirty="0" smtClean="0"/>
            </a:lvl1pPr>
            <a:lvl2pPr marL="271327" marR="0" indent="-271327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2pPr>
            <a:lvl3pPr marL="510919" marR="0" indent="-233246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3pPr>
            <a:lvl4pPr marL="745752" marR="0" indent="-231659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4pPr>
            <a:lvl5pPr marL="944091" marR="0" indent="-201512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5pPr>
          </a:lstStyle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327" marR="0" lvl="1" indent="-271327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0919" marR="0" lvl="2" indent="-233246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5752" marR="0" lvl="3" indent="-231659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091" marR="0" lvl="4" indent="-201512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3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FBB59D39-6114-41B0-8E75-E6A062D8042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0" y="907750"/>
            <a:ext cx="1079438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210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6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D65938-DB82-49FC-970F-0356365F2E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FADCF5-E5FD-44E4-A9BB-9D105FC61C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DAA9E0-F745-4755-86E0-A4ABF3A783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31E9A-8016-4980-860C-F72AA30E9F4F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D37C1A-DD7C-4D8C-B2E8-0D09C12C0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5FA4E-61E3-442F-807C-65BE272180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1A8A7-3A76-4C75-A149-F29D817840D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472704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48CC23-7CB4-4E75-950B-2B7C83BB41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F7B7AE-99E6-43F5-85AE-224883EF77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1093CB-3848-4F9C-A5BA-9D3B62A21C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31E9A-8016-4980-860C-F72AA30E9F4F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9F08ED-8DEC-4265-A537-05E6573D83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4DC3B-F0EA-421C-91F8-2E1920481D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1A8A7-3A76-4C75-A149-F29D817840D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207701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5B337F-1564-4157-8F37-DF38F5BCB1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EBA4B9-C934-4BA7-8952-4627EFFBF11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2E79B7-4118-4FC6-AE5D-DBA8B9AB20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B4CD33-F831-4E46-B8E7-397597358F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31E9A-8016-4980-860C-F72AA30E9F4F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1E1BDA-06FF-4DEE-96EF-E57F0CF0B5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AF979C-DAD8-4033-AA3C-901FEE3B90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1A8A7-3A76-4C75-A149-F29D817840D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7420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C8D621-DA5F-4476-901F-8A84EB324A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84D957-0533-4081-82ED-64DF0C8E56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114122-8714-41BD-9D03-33F55B7A78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C58973C-9C4B-45C2-99D4-A3C6E6A1313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A9C8B1F-4F56-49EE-A67D-43EF5914CA2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7C1F7B4-40AE-4D55-9E91-D26E4C90A9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31E9A-8016-4980-860C-F72AA30E9F4F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E402876-DC79-4170-B0D3-E8009D2939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FB33A4C-4C3F-40E3-8B50-E863B1103F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1A8A7-3A76-4C75-A149-F29D817840D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661113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2FC13F-B675-4B08-A8B1-BE85461296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D94A999-4D9C-4390-9D2B-B8938D0AA0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31E9A-8016-4980-860C-F72AA30E9F4F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28FEB-FF1F-4E85-82ED-738CF7ED5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524B55-1373-4113-8199-A4211DE51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1A8A7-3A76-4C75-A149-F29D817840D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952292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9DFB0D-8881-492C-9204-560E985558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31E9A-8016-4980-860C-F72AA30E9F4F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D9D77F-53B9-4892-BC8D-53BAF30D7C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D072F3-B695-43A7-999F-20E7F898D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1A8A7-3A76-4C75-A149-F29D817840D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559570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A25AC-08D1-48B5-9C71-1D1FB2525E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40F250-4087-4A22-9B17-D4E2B958AF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B20BC1-F116-4675-80D6-43FADD149B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45019B-61D8-45BC-89BE-26D7699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31E9A-8016-4980-860C-F72AA30E9F4F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F48579-801E-4BD0-A55C-80F12D420B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968314-BD10-438F-8BF6-CB19BA742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1A8A7-3A76-4C75-A149-F29D817840D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146439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277ECB-072C-409C-A060-4AE517743B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998647-0782-41AF-8FCA-C9E2E8291A5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E5B88B-AC9D-4612-B91E-290572C0FB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A6D5CE-2252-462F-BB95-25766CF881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31E9A-8016-4980-860C-F72AA30E9F4F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6786E5-4F6D-4287-8F20-68D8A01B13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8DB840-A51A-4C00-824D-AF88C13A29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1A8A7-3A76-4C75-A149-F29D817840D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591461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70F1C9A-1740-4BC2-B131-7721C0B40A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B974CA-2335-42D1-A89A-45E5886771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EE9BE2-567A-4584-9C34-97FBA0201D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C31E9A-8016-4980-860C-F72AA30E9F4F}" type="datetimeFigureOut">
              <a:rPr lang="es-ES" smtClean="0"/>
              <a:t>22/12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B02C5-6AF4-4776-8A20-52F96CC2D5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01D164-EB8E-4D71-9342-B7E6E240C9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71A8A7-3A76-4C75-A149-F29D817840D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61232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png"/><Relationship Id="rId5" Type="http://schemas.openxmlformats.org/officeDocument/2006/relationships/image" Target="../media/image12.png"/><Relationship Id="rId4" Type="http://schemas.microsoft.com/office/2007/relationships/hdphoto" Target="../media/hdphoto6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2.png"/><Relationship Id="rId4" Type="http://schemas.microsoft.com/office/2007/relationships/hdphoto" Target="../media/hdphoto6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2.png"/><Relationship Id="rId4" Type="http://schemas.microsoft.com/office/2007/relationships/hdphoto" Target="../media/hdphoto6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2.png"/><Relationship Id="rId4" Type="http://schemas.microsoft.com/office/2007/relationships/hdphoto" Target="../media/hdphoto6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microsoft.com/office/2007/relationships/hdphoto" Target="../media/hdphoto6.wdp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2.png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png"/><Relationship Id="rId5" Type="http://schemas.openxmlformats.org/officeDocument/2006/relationships/image" Target="../media/image8.png"/><Relationship Id="rId4" Type="http://schemas.microsoft.com/office/2007/relationships/hdphoto" Target="../media/hdphoto3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microsoft.com/office/2007/relationships/hdphoto" Target="../media/hdphoto5.wdp"/><Relationship Id="rId5" Type="http://schemas.openxmlformats.org/officeDocument/2006/relationships/image" Target="../media/image10.png"/><Relationship Id="rId4" Type="http://schemas.microsoft.com/office/2007/relationships/hdphoto" Target="../media/hdphoto4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See the source image">
            <a:extLst>
              <a:ext uri="{FF2B5EF4-FFF2-40B4-BE49-F238E27FC236}">
                <a16:creationId xmlns:a16="http://schemas.microsoft.com/office/drawing/2014/main" id="{7924A20E-332F-413C-BB37-0274A641AD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 amt="8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9" name="Group 48">
            <a:extLst>
              <a:ext uri="{FF2B5EF4-FFF2-40B4-BE49-F238E27FC236}">
                <a16:creationId xmlns:a16="http://schemas.microsoft.com/office/drawing/2014/main" id="{97F66A72-A0D3-4F6F-843A-2800C76E39AA}"/>
              </a:ext>
            </a:extLst>
          </p:cNvPr>
          <p:cNvGrpSpPr/>
          <p:nvPr/>
        </p:nvGrpSpPr>
        <p:grpSpPr>
          <a:xfrm>
            <a:off x="11537879" y="6256962"/>
            <a:ext cx="501722" cy="467700"/>
            <a:chOff x="7101720" y="656022"/>
            <a:chExt cx="2518529" cy="2377221"/>
          </a:xfrm>
        </p:grpSpPr>
        <p:sp>
          <p:nvSpPr>
            <p:cNvPr id="50" name="object 16">
              <a:extLst>
                <a:ext uri="{FF2B5EF4-FFF2-40B4-BE49-F238E27FC236}">
                  <a16:creationId xmlns:a16="http://schemas.microsoft.com/office/drawing/2014/main" id="{AE670510-0885-4479-B5AC-69175E22DD70}"/>
                </a:ext>
              </a:extLst>
            </p:cNvPr>
            <p:cNvSpPr/>
            <p:nvPr/>
          </p:nvSpPr>
          <p:spPr>
            <a:xfrm>
              <a:off x="7116290" y="656022"/>
              <a:ext cx="2018209" cy="809100"/>
            </a:xfrm>
            <a:custGeom>
              <a:avLst/>
              <a:gdLst/>
              <a:ahLst/>
              <a:cxnLst/>
              <a:rect l="l" t="t" r="r" b="b"/>
              <a:pathLst>
                <a:path w="784225" h="286384">
                  <a:moveTo>
                    <a:pt x="784021" y="0"/>
                  </a:moveTo>
                  <a:lnTo>
                    <a:pt x="0" y="286156"/>
                  </a:lnTo>
                  <a:lnTo>
                    <a:pt x="784021" y="147650"/>
                  </a:lnTo>
                  <a:lnTo>
                    <a:pt x="784021" y="0"/>
                  </a:lnTo>
                  <a:close/>
                </a:path>
              </a:pathLst>
            </a:custGeom>
            <a:solidFill>
              <a:srgbClr val="FFD4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17">
              <a:extLst>
                <a:ext uri="{FF2B5EF4-FFF2-40B4-BE49-F238E27FC236}">
                  <a16:creationId xmlns:a16="http://schemas.microsoft.com/office/drawing/2014/main" id="{349FC039-DDED-40AC-A81E-11CE7C4EB632}"/>
                </a:ext>
              </a:extLst>
            </p:cNvPr>
            <p:cNvSpPr/>
            <p:nvPr/>
          </p:nvSpPr>
          <p:spPr>
            <a:xfrm>
              <a:off x="7101720" y="1800553"/>
              <a:ext cx="2518529" cy="1232690"/>
            </a:xfrm>
            <a:prstGeom prst="rect">
              <a:avLst/>
            </a:prstGeom>
            <a:blipFill>
              <a:blip r:embed="rId4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 b="-69966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Rechteck 1">
            <a:extLst>
              <a:ext uri="{FF2B5EF4-FFF2-40B4-BE49-F238E27FC236}">
                <a16:creationId xmlns:a16="http://schemas.microsoft.com/office/drawing/2014/main" id="{BEF415E1-EFA3-41D3-9061-EE26A5B10EFF}"/>
              </a:ext>
            </a:extLst>
          </p:cNvPr>
          <p:cNvSpPr/>
          <p:nvPr/>
        </p:nvSpPr>
        <p:spPr>
          <a:xfrm>
            <a:off x="0" y="0"/>
            <a:ext cx="4839127" cy="6858000"/>
          </a:xfrm>
          <a:prstGeom prst="rect">
            <a:avLst/>
          </a:prstGeom>
          <a:solidFill>
            <a:schemeClr val="tx1">
              <a:lumMod val="95000"/>
              <a:lumOff val="5000"/>
              <a:alpha val="86000"/>
            </a:schemeClr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kern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39F43CA2-6EF0-4E0C-A8EA-32C5D9A3184B}"/>
              </a:ext>
            </a:extLst>
          </p:cNvPr>
          <p:cNvSpPr txBox="1">
            <a:spLocks noChangeArrowheads="1"/>
          </p:cNvSpPr>
          <p:nvPr/>
        </p:nvSpPr>
        <p:spPr>
          <a:xfrm>
            <a:off x="601501" y="1199078"/>
            <a:ext cx="4237626" cy="151405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1200"/>
              </a:spcBef>
            </a:pPr>
            <a:endParaRPr lang="es-ES" sz="2000" b="1" i="1"/>
          </a:p>
        </p:txBody>
      </p:sp>
      <p:sp>
        <p:nvSpPr>
          <p:cNvPr id="21" name="Titel 8">
            <a:extLst>
              <a:ext uri="{FF2B5EF4-FFF2-40B4-BE49-F238E27FC236}">
                <a16:creationId xmlns:a16="http://schemas.microsoft.com/office/drawing/2014/main" id="{95284786-CF47-4DE3-9106-27068F26A125}"/>
              </a:ext>
            </a:extLst>
          </p:cNvPr>
          <p:cNvSpPr txBox="1">
            <a:spLocks/>
          </p:cNvSpPr>
          <p:nvPr/>
        </p:nvSpPr>
        <p:spPr>
          <a:xfrm>
            <a:off x="507642" y="1561890"/>
            <a:ext cx="4026258" cy="174671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4000" b="1" i="1" dirty="0">
                <a:solidFill>
                  <a:schemeClr val="bg1">
                    <a:lumMod val="95000"/>
                  </a:schemeClr>
                </a:solidFill>
              </a:rPr>
              <a:t>ANÁLISIS DE LA CRIMINALIDAD EN EL MUNDO</a:t>
            </a:r>
          </a:p>
        </p:txBody>
      </p:sp>
      <p:sp>
        <p:nvSpPr>
          <p:cNvPr id="22" name="object 6">
            <a:extLst>
              <a:ext uri="{FF2B5EF4-FFF2-40B4-BE49-F238E27FC236}">
                <a16:creationId xmlns:a16="http://schemas.microsoft.com/office/drawing/2014/main" id="{89F4B420-D443-48ED-8811-937E21AA9568}"/>
              </a:ext>
            </a:extLst>
          </p:cNvPr>
          <p:cNvSpPr/>
          <p:nvPr/>
        </p:nvSpPr>
        <p:spPr>
          <a:xfrm flipV="1">
            <a:off x="733136" y="831642"/>
            <a:ext cx="2403755" cy="45719"/>
          </a:xfrm>
          <a:custGeom>
            <a:avLst/>
            <a:gdLst/>
            <a:ahLst/>
            <a:cxnLst/>
            <a:rect l="l" t="t" r="r" b="b"/>
            <a:pathLst>
              <a:path w="1941195">
                <a:moveTo>
                  <a:pt x="0" y="0"/>
                </a:moveTo>
                <a:lnTo>
                  <a:pt x="1941195" y="0"/>
                </a:lnTo>
              </a:path>
            </a:pathLst>
          </a:custGeom>
          <a:ln w="38049">
            <a:solidFill>
              <a:srgbClr val="FFD4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Titel 8">
            <a:extLst>
              <a:ext uri="{FF2B5EF4-FFF2-40B4-BE49-F238E27FC236}">
                <a16:creationId xmlns:a16="http://schemas.microsoft.com/office/drawing/2014/main" id="{108163B4-F1C6-4544-B6C4-2E46C1D2E4F3}"/>
              </a:ext>
            </a:extLst>
          </p:cNvPr>
          <p:cNvSpPr txBox="1">
            <a:spLocks/>
          </p:cNvSpPr>
          <p:nvPr/>
        </p:nvSpPr>
        <p:spPr>
          <a:xfrm>
            <a:off x="507642" y="3549396"/>
            <a:ext cx="3950058" cy="6693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000" b="1" dirty="0" err="1">
                <a:solidFill>
                  <a:schemeClr val="bg1">
                    <a:lumMod val="95000"/>
                  </a:schemeClr>
                </a:solidFill>
              </a:rPr>
              <a:t>Ironhack</a:t>
            </a:r>
            <a:r>
              <a:rPr lang="es-ES" sz="2000" b="1" dirty="0">
                <a:solidFill>
                  <a:schemeClr val="bg1">
                    <a:lumMod val="95000"/>
                  </a:schemeClr>
                </a:solidFill>
              </a:rPr>
              <a:t> – Data </a:t>
            </a:r>
            <a:r>
              <a:rPr lang="es-ES" sz="2000" b="1" dirty="0" err="1">
                <a:solidFill>
                  <a:schemeClr val="bg1">
                    <a:lumMod val="95000"/>
                  </a:schemeClr>
                </a:solidFill>
              </a:rPr>
              <a:t>Analytics</a:t>
            </a:r>
            <a:r>
              <a:rPr lang="es-ES" sz="20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es-ES" sz="2000" b="1" dirty="0" err="1">
                <a:solidFill>
                  <a:schemeClr val="bg1">
                    <a:lumMod val="95000"/>
                  </a:schemeClr>
                </a:solidFill>
              </a:rPr>
              <a:t>Bootcamp</a:t>
            </a:r>
            <a:endParaRPr lang="es-ES" sz="20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1" name="Titel 8">
            <a:extLst>
              <a:ext uri="{FF2B5EF4-FFF2-40B4-BE49-F238E27FC236}">
                <a16:creationId xmlns:a16="http://schemas.microsoft.com/office/drawing/2014/main" id="{71F45F26-6A2B-4D48-8E90-BE586457FD8D}"/>
              </a:ext>
            </a:extLst>
          </p:cNvPr>
          <p:cNvSpPr txBox="1">
            <a:spLocks/>
          </p:cNvSpPr>
          <p:nvPr/>
        </p:nvSpPr>
        <p:spPr>
          <a:xfrm>
            <a:off x="507642" y="4052468"/>
            <a:ext cx="3950058" cy="6693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1600" b="1" dirty="0">
                <a:solidFill>
                  <a:schemeClr val="bg1">
                    <a:lumMod val="95000"/>
                  </a:schemeClr>
                </a:solidFill>
              </a:rPr>
              <a:t>22 de Diciembre de 2022</a:t>
            </a:r>
          </a:p>
        </p:txBody>
      </p:sp>
      <p:sp>
        <p:nvSpPr>
          <p:cNvPr id="12" name="Titel 8">
            <a:extLst>
              <a:ext uri="{FF2B5EF4-FFF2-40B4-BE49-F238E27FC236}">
                <a16:creationId xmlns:a16="http://schemas.microsoft.com/office/drawing/2014/main" id="{552F70F5-3273-4D87-A898-7E3430128123}"/>
              </a:ext>
            </a:extLst>
          </p:cNvPr>
          <p:cNvSpPr txBox="1">
            <a:spLocks/>
          </p:cNvSpPr>
          <p:nvPr/>
        </p:nvSpPr>
        <p:spPr>
          <a:xfrm>
            <a:off x="507642" y="5224858"/>
            <a:ext cx="3950058" cy="6693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1600" b="1" dirty="0">
                <a:solidFill>
                  <a:schemeClr val="bg1">
                    <a:lumMod val="95000"/>
                  </a:schemeClr>
                </a:solidFill>
              </a:rPr>
              <a:t>Cristina García Gutiérrez</a:t>
            </a:r>
          </a:p>
        </p:txBody>
      </p:sp>
    </p:spTree>
    <p:extLst>
      <p:ext uri="{BB962C8B-B14F-4D97-AF65-F5344CB8AC3E}">
        <p14:creationId xmlns:p14="http://schemas.microsoft.com/office/powerpoint/2010/main" val="39944886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See the source image">
            <a:extLst>
              <a:ext uri="{FF2B5EF4-FFF2-40B4-BE49-F238E27FC236}">
                <a16:creationId xmlns:a16="http://schemas.microsoft.com/office/drawing/2014/main" id="{5A37A321-7858-4304-ACF4-56D65A0E0B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9762" b="11287"/>
          <a:stretch/>
        </p:blipFill>
        <p:spPr bwMode="auto">
          <a:xfrm>
            <a:off x="0" y="0"/>
            <a:ext cx="12192000" cy="1329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16">
            <a:extLst>
              <a:ext uri="{FF2B5EF4-FFF2-40B4-BE49-F238E27FC236}">
                <a16:creationId xmlns:a16="http://schemas.microsoft.com/office/drawing/2014/main" id="{8D753FC9-03DD-4B05-8C9E-9C74B798D030}"/>
              </a:ext>
            </a:extLst>
          </p:cNvPr>
          <p:cNvSpPr/>
          <p:nvPr/>
        </p:nvSpPr>
        <p:spPr>
          <a:xfrm>
            <a:off x="-1" y="0"/>
            <a:ext cx="12191999" cy="1329070"/>
          </a:xfrm>
          <a:prstGeom prst="rect">
            <a:avLst/>
          </a:prstGeom>
          <a:solidFill>
            <a:srgbClr val="181717">
              <a:alpha val="50196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E666D21-6E8C-42A1-855E-4BA36FC0FC4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b="7543"/>
          <a:stretch/>
        </p:blipFill>
        <p:spPr>
          <a:xfrm>
            <a:off x="1719419" y="3056286"/>
            <a:ext cx="8263467" cy="3679404"/>
          </a:xfrm>
          <a:prstGeom prst="rect">
            <a:avLst/>
          </a:prstGeom>
        </p:spPr>
      </p:pic>
      <p:sp>
        <p:nvSpPr>
          <p:cNvPr id="13" name="Rectangle 16">
            <a:extLst>
              <a:ext uri="{FF2B5EF4-FFF2-40B4-BE49-F238E27FC236}">
                <a16:creationId xmlns:a16="http://schemas.microsoft.com/office/drawing/2014/main" id="{A64020C9-170A-47E0-BCE6-307F8396DBC2}"/>
              </a:ext>
            </a:extLst>
          </p:cNvPr>
          <p:cNvSpPr/>
          <p:nvPr/>
        </p:nvSpPr>
        <p:spPr>
          <a:xfrm>
            <a:off x="520992" y="340277"/>
            <a:ext cx="11142922" cy="871835"/>
          </a:xfrm>
          <a:prstGeom prst="rect">
            <a:avLst/>
          </a:prstGeom>
          <a:solidFill>
            <a:srgbClr val="181717">
              <a:alpha val="60000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sp>
        <p:nvSpPr>
          <p:cNvPr id="12" name="Rectangle 25">
            <a:extLst>
              <a:ext uri="{FF2B5EF4-FFF2-40B4-BE49-F238E27FC236}">
                <a16:creationId xmlns:a16="http://schemas.microsoft.com/office/drawing/2014/main" id="{F8437A2E-EABC-41F2-BE25-3976F4E299D5}"/>
              </a:ext>
            </a:extLst>
          </p:cNvPr>
          <p:cNvSpPr>
            <a:spLocks/>
          </p:cNvSpPr>
          <p:nvPr/>
        </p:nvSpPr>
        <p:spPr>
          <a:xfrm>
            <a:off x="528082" y="358609"/>
            <a:ext cx="11135832" cy="441724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2800" b="1" dirty="0">
                <a:solidFill>
                  <a:srgbClr val="FFE600"/>
                </a:solidFill>
                <a:latin typeface="EYInterstate"/>
              </a:rPr>
              <a:t>Características que afectan al Índice de Criminalidad </a:t>
            </a:r>
            <a:endParaRPr lang="es-ES" sz="2800" b="1" dirty="0">
              <a:solidFill>
                <a:srgbClr val="FFE600"/>
              </a:solidFill>
              <a:latin typeface="EYInterstate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F0DF381-CA78-4F99-9DB6-02129967CC9E}"/>
              </a:ext>
            </a:extLst>
          </p:cNvPr>
          <p:cNvSpPr/>
          <p:nvPr/>
        </p:nvSpPr>
        <p:spPr>
          <a:xfrm>
            <a:off x="2525457" y="1671149"/>
            <a:ext cx="2924263" cy="1199081"/>
          </a:xfrm>
          <a:prstGeom prst="rect">
            <a:avLst/>
          </a:prstGeom>
          <a:noFill/>
          <a:ln>
            <a:solidFill>
              <a:srgbClr val="3B3838"/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eriod"/>
            </a:pPr>
            <a:r>
              <a:rPr lang="es-ES_tradnl" sz="1200" dirty="0" err="1">
                <a:solidFill>
                  <a:schemeClr val="tx1"/>
                </a:solidFill>
                <a:latin typeface="EYInterstate" panose="02000503020000020004" pitchFamily="2" charset="0"/>
              </a:rPr>
              <a:t>Population</a:t>
            </a:r>
            <a:endParaRPr lang="es-ES_tradnl" sz="1200" dirty="0">
              <a:solidFill>
                <a:schemeClr val="tx1"/>
              </a:solidFill>
              <a:latin typeface="EYInterstate" panose="02000503020000020004" pitchFamily="2" charset="0"/>
            </a:endParaRPr>
          </a:p>
          <a:p>
            <a:pPr marL="342900" indent="-342900">
              <a:buAutoNum type="arabicPeriod"/>
            </a:pPr>
            <a:r>
              <a:rPr lang="es-ES_tradnl" sz="1200" dirty="0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GPD per </a:t>
            </a:r>
            <a:r>
              <a:rPr lang="es-ES_tradnl" sz="1200" dirty="0" err="1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Capita</a:t>
            </a:r>
            <a:r>
              <a:rPr lang="es-ES_tradnl" sz="1200" dirty="0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 (PPP)</a:t>
            </a:r>
          </a:p>
          <a:p>
            <a:pPr marL="342900" indent="-342900">
              <a:buAutoNum type="arabicPeriod"/>
            </a:pPr>
            <a:r>
              <a:rPr lang="es-ES_tradnl" sz="1200" dirty="0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Business </a:t>
            </a:r>
            <a:r>
              <a:rPr lang="es-ES_tradnl" sz="1200" dirty="0" err="1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Freedom</a:t>
            </a:r>
            <a:endParaRPr lang="es-ES_tradnl" sz="1200" dirty="0">
              <a:solidFill>
                <a:schemeClr val="tx1"/>
              </a:solidFill>
              <a:latin typeface="EYInterstate" panose="02000503020000020004" pitchFamily="2" charset="0"/>
              <a:sym typeface="Wingdings" panose="05000000000000000000" pitchFamily="2" charset="2"/>
            </a:endParaRPr>
          </a:p>
          <a:p>
            <a:pPr marL="342900" indent="-342900">
              <a:buAutoNum type="arabicPeriod"/>
            </a:pPr>
            <a:r>
              <a:rPr lang="es-ES_tradnl" sz="1200" dirty="0" err="1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Cost</a:t>
            </a:r>
            <a:r>
              <a:rPr lang="es-ES_tradnl" sz="1200" dirty="0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 </a:t>
            </a:r>
            <a:r>
              <a:rPr lang="es-ES_tradnl" sz="1200" dirty="0" err="1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of</a:t>
            </a:r>
            <a:r>
              <a:rPr lang="es-ES_tradnl" sz="1200" dirty="0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 Living </a:t>
            </a:r>
            <a:r>
              <a:rPr lang="es-ES_tradnl" sz="1200" dirty="0" err="1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Index</a:t>
            </a:r>
            <a:endParaRPr lang="es-ES_tradnl" sz="1200" dirty="0">
              <a:solidFill>
                <a:schemeClr val="tx1"/>
              </a:solidFill>
              <a:latin typeface="EYInterstate" panose="02000503020000020004" pitchFamily="2" charset="0"/>
              <a:sym typeface="Wingdings" panose="05000000000000000000" pitchFamily="2" charset="2"/>
            </a:endParaRPr>
          </a:p>
          <a:p>
            <a:pPr marL="342900" indent="-342900">
              <a:buAutoNum type="arabicPeriod"/>
            </a:pPr>
            <a:r>
              <a:rPr lang="es-ES_tradnl" sz="1200" dirty="0" err="1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Happiness</a:t>
            </a:r>
            <a:r>
              <a:rPr lang="es-ES_tradnl" sz="1200" dirty="0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 Rank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BEF5801-18A3-42E1-A326-FBEF7343F435}"/>
              </a:ext>
            </a:extLst>
          </p:cNvPr>
          <p:cNvSpPr/>
          <p:nvPr/>
        </p:nvSpPr>
        <p:spPr>
          <a:xfrm>
            <a:off x="6742281" y="1671149"/>
            <a:ext cx="2927498" cy="1199081"/>
          </a:xfrm>
          <a:prstGeom prst="rect">
            <a:avLst/>
          </a:prstGeom>
          <a:noFill/>
          <a:ln>
            <a:solidFill>
              <a:srgbClr val="3B3838"/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eriod"/>
            </a:pPr>
            <a:r>
              <a:rPr lang="es-ES_tradnl" sz="1200" dirty="0" err="1">
                <a:solidFill>
                  <a:schemeClr val="tx1"/>
                </a:solidFill>
                <a:latin typeface="EYInterstate" panose="02000503020000020004" pitchFamily="2" charset="0"/>
              </a:rPr>
              <a:t>Public</a:t>
            </a:r>
            <a:r>
              <a:rPr lang="es-ES_tradnl" sz="1200" dirty="0">
                <a:solidFill>
                  <a:schemeClr val="tx1"/>
                </a:solidFill>
                <a:latin typeface="EYInterstate" panose="02000503020000020004" pitchFamily="2" charset="0"/>
              </a:rPr>
              <a:t> </a:t>
            </a:r>
            <a:r>
              <a:rPr lang="es-ES_tradnl" sz="1200" dirty="0" err="1">
                <a:solidFill>
                  <a:schemeClr val="tx1"/>
                </a:solidFill>
                <a:latin typeface="EYInterstate" panose="02000503020000020004" pitchFamily="2" charset="0"/>
              </a:rPr>
              <a:t>Debt</a:t>
            </a:r>
            <a:endParaRPr lang="es-ES_tradnl" sz="1200" dirty="0">
              <a:solidFill>
                <a:schemeClr val="tx1"/>
              </a:solidFill>
              <a:latin typeface="EYInterstate" panose="02000503020000020004" pitchFamily="2" charset="0"/>
            </a:endParaRPr>
          </a:p>
          <a:p>
            <a:pPr marL="342900" indent="-342900">
              <a:buAutoNum type="arabicPeriod"/>
            </a:pPr>
            <a:r>
              <a:rPr lang="es-ES_tradnl" sz="1200" dirty="0" err="1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Literacy</a:t>
            </a:r>
            <a:endParaRPr lang="es-ES_tradnl" sz="1200" dirty="0">
              <a:solidFill>
                <a:schemeClr val="tx1"/>
              </a:solidFill>
              <a:latin typeface="EYInterstate" panose="02000503020000020004" pitchFamily="2" charset="0"/>
              <a:sym typeface="Wingdings" panose="05000000000000000000" pitchFamily="2" charset="2"/>
            </a:endParaRPr>
          </a:p>
          <a:p>
            <a:pPr marL="342900" indent="-342900">
              <a:buAutoNum type="arabicPeriod"/>
            </a:pPr>
            <a:r>
              <a:rPr lang="es-ES_tradnl" sz="1200" dirty="0" err="1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Cost</a:t>
            </a:r>
            <a:r>
              <a:rPr lang="es-ES_tradnl" sz="1200" dirty="0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 </a:t>
            </a:r>
            <a:r>
              <a:rPr lang="es-ES_tradnl" sz="1200" dirty="0" err="1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of</a:t>
            </a:r>
            <a:r>
              <a:rPr lang="es-ES_tradnl" sz="1200" dirty="0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 Living plus </a:t>
            </a:r>
            <a:r>
              <a:rPr lang="es-ES_tradnl" sz="1200" dirty="0" err="1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Rent</a:t>
            </a:r>
            <a:r>
              <a:rPr lang="es-ES_tradnl" sz="1200" dirty="0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 </a:t>
            </a:r>
            <a:r>
              <a:rPr lang="es-ES_tradnl" sz="1200" dirty="0" err="1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Index</a:t>
            </a:r>
            <a:endParaRPr lang="es-ES_tradnl" sz="1200" dirty="0">
              <a:solidFill>
                <a:schemeClr val="tx1"/>
              </a:solidFill>
              <a:latin typeface="EYInterstate" panose="02000503020000020004" pitchFamily="2" charset="0"/>
              <a:sym typeface="Wingdings" panose="05000000000000000000" pitchFamily="2" charset="2"/>
            </a:endParaRPr>
          </a:p>
          <a:p>
            <a:pPr marL="342900" indent="-342900">
              <a:buAutoNum type="arabicPeriod"/>
            </a:pPr>
            <a:r>
              <a:rPr lang="es-ES_tradnl" sz="1200" dirty="0" err="1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Rent</a:t>
            </a:r>
            <a:r>
              <a:rPr lang="es-ES_tradnl" sz="1200" dirty="0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 </a:t>
            </a:r>
            <a:r>
              <a:rPr lang="es-ES_tradnl" sz="1200" dirty="0" err="1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rPr>
              <a:t>Index</a:t>
            </a:r>
            <a:endParaRPr lang="es-ES_tradnl" sz="1200" dirty="0">
              <a:solidFill>
                <a:schemeClr val="tx1"/>
              </a:solidFill>
              <a:latin typeface="EYInterstate" panose="02000503020000020004" pitchFamily="2" charset="0"/>
              <a:sym typeface="Wingdings" panose="05000000000000000000" pitchFamily="2" charset="2"/>
            </a:endParaRPr>
          </a:p>
        </p:txBody>
      </p:sp>
      <p:sp>
        <p:nvSpPr>
          <p:cNvPr id="16" name="Rectangle 25">
            <a:extLst>
              <a:ext uri="{FF2B5EF4-FFF2-40B4-BE49-F238E27FC236}">
                <a16:creationId xmlns:a16="http://schemas.microsoft.com/office/drawing/2014/main" id="{234368DB-97CF-43F4-A497-E01E37AEFE4A}"/>
              </a:ext>
            </a:extLst>
          </p:cNvPr>
          <p:cNvSpPr>
            <a:spLocks/>
          </p:cNvSpPr>
          <p:nvPr/>
        </p:nvSpPr>
        <p:spPr>
          <a:xfrm>
            <a:off x="535172" y="829989"/>
            <a:ext cx="11135832" cy="315536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2000" i="1" dirty="0">
                <a:solidFill>
                  <a:srgbClr val="FFE600"/>
                </a:solidFill>
                <a:latin typeface="EYInterstate"/>
              </a:rPr>
              <a:t>Modelo </a:t>
            </a:r>
            <a:r>
              <a:rPr lang="es-ES_tradnl" sz="2000" i="1" dirty="0" err="1">
                <a:solidFill>
                  <a:srgbClr val="FFE600"/>
                </a:solidFill>
                <a:latin typeface="EYInterstate"/>
              </a:rPr>
              <a:t>Random</a:t>
            </a:r>
            <a:r>
              <a:rPr lang="es-ES_tradnl" sz="2000" i="1" dirty="0">
                <a:solidFill>
                  <a:srgbClr val="FFE600"/>
                </a:solidFill>
                <a:latin typeface="EYInterstate"/>
              </a:rPr>
              <a:t> Forest</a:t>
            </a:r>
            <a:endParaRPr lang="es-ES" sz="2000" i="1" dirty="0">
              <a:solidFill>
                <a:srgbClr val="FFE600"/>
              </a:solidFill>
              <a:latin typeface="EYInterstate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5AF0BBB-1ADC-4529-A188-CE5FEFDF30C5}"/>
              </a:ext>
            </a:extLst>
          </p:cNvPr>
          <p:cNvSpPr/>
          <p:nvPr/>
        </p:nvSpPr>
        <p:spPr>
          <a:xfrm>
            <a:off x="5165821" y="1515126"/>
            <a:ext cx="576000" cy="576000"/>
          </a:xfrm>
          <a:prstGeom prst="ellipse">
            <a:avLst/>
          </a:prstGeom>
          <a:solidFill>
            <a:srgbClr val="181717">
              <a:alpha val="89804"/>
            </a:srgbClr>
          </a:solidFill>
          <a:ln w="19050" cap="rnd">
            <a:solidFill>
              <a:srgbClr val="FFE600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_tradnl" sz="4000" dirty="0">
                <a:solidFill>
                  <a:srgbClr val="FFE600"/>
                </a:solidFill>
                <a:latin typeface="EYInterstate" panose="02000503020000020004" pitchFamily="2" charset="0"/>
              </a:rPr>
              <a:t>+</a:t>
            </a:r>
            <a:endParaRPr lang="es-ES" sz="4000" dirty="0">
              <a:solidFill>
                <a:srgbClr val="FFE600"/>
              </a:solidFill>
              <a:latin typeface="EYInterstate" panose="02000503020000020004" pitchFamily="2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00B939E-7460-4643-A68B-952621156AA0}"/>
              </a:ext>
            </a:extLst>
          </p:cNvPr>
          <p:cNvSpPr/>
          <p:nvPr/>
        </p:nvSpPr>
        <p:spPr>
          <a:xfrm>
            <a:off x="9381486" y="1515126"/>
            <a:ext cx="576000" cy="576000"/>
          </a:xfrm>
          <a:prstGeom prst="ellipse">
            <a:avLst/>
          </a:prstGeom>
          <a:solidFill>
            <a:srgbClr val="181717">
              <a:alpha val="89804"/>
            </a:srgbClr>
          </a:solidFill>
          <a:ln w="19050" cap="rnd">
            <a:solidFill>
              <a:srgbClr val="FFE600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_tradnl" sz="4000" dirty="0">
                <a:solidFill>
                  <a:srgbClr val="FFE600"/>
                </a:solidFill>
                <a:latin typeface="EYInterstate" panose="02000503020000020004" pitchFamily="2" charset="0"/>
              </a:rPr>
              <a:t>-</a:t>
            </a:r>
            <a:endParaRPr lang="es-ES" sz="4000" dirty="0">
              <a:solidFill>
                <a:srgbClr val="FFE600"/>
              </a:solidFill>
              <a:latin typeface="EYInterstate" panose="02000503020000020004" pitchFamily="2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0FCE0E3-267F-4A3E-99EF-C53E3CF38239}"/>
              </a:ext>
            </a:extLst>
          </p:cNvPr>
          <p:cNvGrpSpPr/>
          <p:nvPr/>
        </p:nvGrpSpPr>
        <p:grpSpPr>
          <a:xfrm>
            <a:off x="11537879" y="6256962"/>
            <a:ext cx="501722" cy="467700"/>
            <a:chOff x="7101720" y="656022"/>
            <a:chExt cx="2518529" cy="2377221"/>
          </a:xfrm>
        </p:grpSpPr>
        <p:sp>
          <p:nvSpPr>
            <p:cNvPr id="22" name="object 16">
              <a:extLst>
                <a:ext uri="{FF2B5EF4-FFF2-40B4-BE49-F238E27FC236}">
                  <a16:creationId xmlns:a16="http://schemas.microsoft.com/office/drawing/2014/main" id="{C7D851D8-4EC5-4233-BDB2-579F05311FB9}"/>
                </a:ext>
              </a:extLst>
            </p:cNvPr>
            <p:cNvSpPr/>
            <p:nvPr/>
          </p:nvSpPr>
          <p:spPr>
            <a:xfrm>
              <a:off x="7116290" y="656022"/>
              <a:ext cx="2018209" cy="809100"/>
            </a:xfrm>
            <a:custGeom>
              <a:avLst/>
              <a:gdLst/>
              <a:ahLst/>
              <a:cxnLst/>
              <a:rect l="l" t="t" r="r" b="b"/>
              <a:pathLst>
                <a:path w="784225" h="286384">
                  <a:moveTo>
                    <a:pt x="784021" y="0"/>
                  </a:moveTo>
                  <a:lnTo>
                    <a:pt x="0" y="286156"/>
                  </a:lnTo>
                  <a:lnTo>
                    <a:pt x="784021" y="147650"/>
                  </a:lnTo>
                  <a:lnTo>
                    <a:pt x="784021" y="0"/>
                  </a:lnTo>
                  <a:close/>
                </a:path>
              </a:pathLst>
            </a:custGeom>
            <a:solidFill>
              <a:srgbClr val="FFD4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7">
              <a:extLst>
                <a:ext uri="{FF2B5EF4-FFF2-40B4-BE49-F238E27FC236}">
                  <a16:creationId xmlns:a16="http://schemas.microsoft.com/office/drawing/2014/main" id="{4F4ECBCC-F97F-4D3C-9073-B5EADA38EB9D}"/>
                </a:ext>
              </a:extLst>
            </p:cNvPr>
            <p:cNvSpPr/>
            <p:nvPr/>
          </p:nvSpPr>
          <p:spPr>
            <a:xfrm>
              <a:off x="7101720" y="1800553"/>
              <a:ext cx="2518529" cy="1232690"/>
            </a:xfrm>
            <a:prstGeom prst="rect">
              <a:avLst/>
            </a:prstGeom>
            <a:blipFill>
              <a:blip r:embed="rId6" cstate="print"/>
              <a:stretch>
                <a:fillRect b="-69966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3140175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See the source image">
            <a:extLst>
              <a:ext uri="{FF2B5EF4-FFF2-40B4-BE49-F238E27FC236}">
                <a16:creationId xmlns:a16="http://schemas.microsoft.com/office/drawing/2014/main" id="{DB37842D-4A7A-417A-AE55-627651A4A5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548" y="-3674"/>
            <a:ext cx="12205548" cy="6865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el 8">
            <a:extLst>
              <a:ext uri="{FF2B5EF4-FFF2-40B4-BE49-F238E27FC236}">
                <a16:creationId xmlns:a16="http://schemas.microsoft.com/office/drawing/2014/main" id="{42434769-5392-4D86-BD76-5C8CAC333A2C}"/>
              </a:ext>
            </a:extLst>
          </p:cNvPr>
          <p:cNvSpPr txBox="1">
            <a:spLocks/>
          </p:cNvSpPr>
          <p:nvPr/>
        </p:nvSpPr>
        <p:spPr>
          <a:xfrm>
            <a:off x="673418" y="294200"/>
            <a:ext cx="10978515" cy="590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defPPr>
              <a:defRPr lang="es-E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4400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gend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92F88FF-5AE0-4004-98F9-FEBEF5809D29}"/>
              </a:ext>
            </a:extLst>
          </p:cNvPr>
          <p:cNvCxnSpPr>
            <a:cxnSpLocks/>
          </p:cNvCxnSpPr>
          <p:nvPr/>
        </p:nvCxnSpPr>
        <p:spPr>
          <a:xfrm>
            <a:off x="714514" y="884600"/>
            <a:ext cx="1617720" cy="0"/>
          </a:xfrm>
          <a:prstGeom prst="line">
            <a:avLst/>
          </a:prstGeom>
          <a:ln w="38100">
            <a:solidFill>
              <a:srgbClr val="FCF6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6">
            <a:extLst>
              <a:ext uri="{FF2B5EF4-FFF2-40B4-BE49-F238E27FC236}">
                <a16:creationId xmlns:a16="http://schemas.microsoft.com/office/drawing/2014/main" id="{BE820A95-F062-4388-A79B-48F266E805A4}"/>
              </a:ext>
            </a:extLst>
          </p:cNvPr>
          <p:cNvSpPr/>
          <p:nvPr/>
        </p:nvSpPr>
        <p:spPr>
          <a:xfrm>
            <a:off x="3299953" y="1920858"/>
            <a:ext cx="2503205" cy="4937142"/>
          </a:xfrm>
          <a:prstGeom prst="rect">
            <a:avLst/>
          </a:prstGeom>
          <a:solidFill>
            <a:schemeClr val="tx1">
              <a:lumMod val="85000"/>
              <a:lumOff val="15000"/>
              <a:alpha val="6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12" name="Rectangle 16">
            <a:extLst>
              <a:ext uri="{FF2B5EF4-FFF2-40B4-BE49-F238E27FC236}">
                <a16:creationId xmlns:a16="http://schemas.microsoft.com/office/drawing/2014/main" id="{069E4ECC-4B02-4736-82ED-7F2CFDE2C8EC}"/>
              </a:ext>
            </a:extLst>
          </p:cNvPr>
          <p:cNvSpPr/>
          <p:nvPr/>
        </p:nvSpPr>
        <p:spPr>
          <a:xfrm>
            <a:off x="6098073" y="1920858"/>
            <a:ext cx="2503205" cy="4937142"/>
          </a:xfrm>
          <a:prstGeom prst="rect">
            <a:avLst/>
          </a:prstGeom>
          <a:solidFill>
            <a:srgbClr val="262626">
              <a:alpha val="85098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sp>
        <p:nvSpPr>
          <p:cNvPr id="13" name="Rectangle 16">
            <a:extLst>
              <a:ext uri="{FF2B5EF4-FFF2-40B4-BE49-F238E27FC236}">
                <a16:creationId xmlns:a16="http://schemas.microsoft.com/office/drawing/2014/main" id="{D78DF02B-BDC7-43AA-90A7-9181AFACBB99}"/>
              </a:ext>
            </a:extLst>
          </p:cNvPr>
          <p:cNvSpPr/>
          <p:nvPr/>
        </p:nvSpPr>
        <p:spPr>
          <a:xfrm>
            <a:off x="498849" y="1920858"/>
            <a:ext cx="2503205" cy="4937142"/>
          </a:xfrm>
          <a:prstGeom prst="rect">
            <a:avLst/>
          </a:prstGeom>
          <a:solidFill>
            <a:schemeClr val="tx1">
              <a:lumMod val="85000"/>
              <a:lumOff val="15000"/>
              <a:alpha val="6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sp>
        <p:nvSpPr>
          <p:cNvPr id="14" name="Textfeld 4">
            <a:extLst>
              <a:ext uri="{FF2B5EF4-FFF2-40B4-BE49-F238E27FC236}">
                <a16:creationId xmlns:a16="http://schemas.microsoft.com/office/drawing/2014/main" id="{9194B14F-EB6D-485A-ABC7-46A8A20FD06C}"/>
              </a:ext>
            </a:extLst>
          </p:cNvPr>
          <p:cNvSpPr txBox="1"/>
          <p:nvPr/>
        </p:nvSpPr>
        <p:spPr bwMode="gray">
          <a:xfrm>
            <a:off x="3653610" y="2052715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2</a:t>
            </a:r>
          </a:p>
        </p:txBody>
      </p:sp>
      <p:sp>
        <p:nvSpPr>
          <p:cNvPr id="15" name="Textfeld 4">
            <a:extLst>
              <a:ext uri="{FF2B5EF4-FFF2-40B4-BE49-F238E27FC236}">
                <a16:creationId xmlns:a16="http://schemas.microsoft.com/office/drawing/2014/main" id="{4ABDBE3C-76DA-4FC2-91E0-A28BDA73D8C2}"/>
              </a:ext>
            </a:extLst>
          </p:cNvPr>
          <p:cNvSpPr txBox="1"/>
          <p:nvPr/>
        </p:nvSpPr>
        <p:spPr bwMode="gray">
          <a:xfrm>
            <a:off x="6519525" y="2052715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3</a:t>
            </a:r>
          </a:p>
        </p:txBody>
      </p:sp>
      <p:sp>
        <p:nvSpPr>
          <p:cNvPr id="16" name="Textfeld 4">
            <a:extLst>
              <a:ext uri="{FF2B5EF4-FFF2-40B4-BE49-F238E27FC236}">
                <a16:creationId xmlns:a16="http://schemas.microsoft.com/office/drawing/2014/main" id="{C61A20B8-DABD-4DE0-9C63-E6E0343D8A7F}"/>
              </a:ext>
            </a:extLst>
          </p:cNvPr>
          <p:cNvSpPr txBox="1"/>
          <p:nvPr/>
        </p:nvSpPr>
        <p:spPr bwMode="gray">
          <a:xfrm>
            <a:off x="749887" y="2052715"/>
            <a:ext cx="606626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</a:t>
            </a:r>
            <a:endParaRPr kumimoji="0" lang="en-US" sz="8000" b="0" i="0" u="none" strike="noStrike" kern="0" cap="none" spc="0" normalizeH="0" baseline="0" noProof="0" dirty="0">
              <a:ln w="12700">
                <a:noFill/>
              </a:ln>
              <a:solidFill>
                <a:prstClr val="white">
                  <a:alpha val="70000"/>
                </a:prstClr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7" name="Rectangle 25">
            <a:extLst>
              <a:ext uri="{FF2B5EF4-FFF2-40B4-BE49-F238E27FC236}">
                <a16:creationId xmlns:a16="http://schemas.microsoft.com/office/drawing/2014/main" id="{247A2BC3-B3FC-4822-B443-19FC609F37E3}"/>
              </a:ext>
            </a:extLst>
          </p:cNvPr>
          <p:cNvSpPr>
            <a:spLocks/>
          </p:cNvSpPr>
          <p:nvPr/>
        </p:nvSpPr>
        <p:spPr>
          <a:xfrm>
            <a:off x="883861" y="3652239"/>
            <a:ext cx="1822620" cy="527901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Introducción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8" name="Rectangle 25">
            <a:extLst>
              <a:ext uri="{FF2B5EF4-FFF2-40B4-BE49-F238E27FC236}">
                <a16:creationId xmlns:a16="http://schemas.microsoft.com/office/drawing/2014/main" id="{EA57CDEB-A4F1-4FB1-89F5-5BADFE5D8788}"/>
              </a:ext>
            </a:extLst>
          </p:cNvPr>
          <p:cNvSpPr>
            <a:spLocks/>
          </p:cNvSpPr>
          <p:nvPr/>
        </p:nvSpPr>
        <p:spPr>
          <a:xfrm>
            <a:off x="3623182" y="3652239"/>
            <a:ext cx="1932432" cy="866456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dirty="0">
                <a:solidFill>
                  <a:srgbClr val="FFE600"/>
                </a:solidFill>
                <a:latin typeface="EYInterstate"/>
              </a:rPr>
              <a:t>Estudio de Datos y Modelo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9" name="Rectangle 25">
            <a:extLst>
              <a:ext uri="{FF2B5EF4-FFF2-40B4-BE49-F238E27FC236}">
                <a16:creationId xmlns:a16="http://schemas.microsoft.com/office/drawing/2014/main" id="{75CF3A2A-D467-47B7-835B-E44233823F31}"/>
              </a:ext>
            </a:extLst>
          </p:cNvPr>
          <p:cNvSpPr>
            <a:spLocks/>
          </p:cNvSpPr>
          <p:nvPr/>
        </p:nvSpPr>
        <p:spPr>
          <a:xfrm>
            <a:off x="6483084" y="3652239"/>
            <a:ext cx="1967551" cy="866456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Visualización de Datos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CE49DD9-4EDE-4143-9621-EBC49580BAEE}"/>
              </a:ext>
            </a:extLst>
          </p:cNvPr>
          <p:cNvGrpSpPr/>
          <p:nvPr/>
        </p:nvGrpSpPr>
        <p:grpSpPr>
          <a:xfrm>
            <a:off x="11537879" y="6256962"/>
            <a:ext cx="501722" cy="467700"/>
            <a:chOff x="7101720" y="656022"/>
            <a:chExt cx="2518529" cy="2377221"/>
          </a:xfrm>
        </p:grpSpPr>
        <p:sp>
          <p:nvSpPr>
            <p:cNvPr id="21" name="object 16">
              <a:extLst>
                <a:ext uri="{FF2B5EF4-FFF2-40B4-BE49-F238E27FC236}">
                  <a16:creationId xmlns:a16="http://schemas.microsoft.com/office/drawing/2014/main" id="{29A12E78-FB47-482F-80E0-D6B92807EF76}"/>
                </a:ext>
              </a:extLst>
            </p:cNvPr>
            <p:cNvSpPr/>
            <p:nvPr/>
          </p:nvSpPr>
          <p:spPr>
            <a:xfrm>
              <a:off x="7116290" y="656022"/>
              <a:ext cx="2018209" cy="809100"/>
            </a:xfrm>
            <a:custGeom>
              <a:avLst/>
              <a:gdLst/>
              <a:ahLst/>
              <a:cxnLst/>
              <a:rect l="l" t="t" r="r" b="b"/>
              <a:pathLst>
                <a:path w="784225" h="286384">
                  <a:moveTo>
                    <a:pt x="784021" y="0"/>
                  </a:moveTo>
                  <a:lnTo>
                    <a:pt x="0" y="286156"/>
                  </a:lnTo>
                  <a:lnTo>
                    <a:pt x="784021" y="147650"/>
                  </a:lnTo>
                  <a:lnTo>
                    <a:pt x="784021" y="0"/>
                  </a:lnTo>
                  <a:close/>
                </a:path>
              </a:pathLst>
            </a:custGeom>
            <a:solidFill>
              <a:srgbClr val="FFD4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17">
              <a:extLst>
                <a:ext uri="{FF2B5EF4-FFF2-40B4-BE49-F238E27FC236}">
                  <a16:creationId xmlns:a16="http://schemas.microsoft.com/office/drawing/2014/main" id="{26812F30-9D7F-4B5D-B57C-1C5E0876FC04}"/>
                </a:ext>
              </a:extLst>
            </p:cNvPr>
            <p:cNvSpPr/>
            <p:nvPr/>
          </p:nvSpPr>
          <p:spPr>
            <a:xfrm>
              <a:off x="7101720" y="1800553"/>
              <a:ext cx="2518529" cy="1232690"/>
            </a:xfrm>
            <a:prstGeom prst="rect">
              <a:avLst/>
            </a:prstGeom>
            <a:blipFill>
              <a:blip r:embed="rId3" cstate="print"/>
              <a:stretch>
                <a:fillRect b="-69966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Rectangle 16">
            <a:extLst>
              <a:ext uri="{FF2B5EF4-FFF2-40B4-BE49-F238E27FC236}">
                <a16:creationId xmlns:a16="http://schemas.microsoft.com/office/drawing/2014/main" id="{A9B53497-8654-4765-BA7F-56326849F6BE}"/>
              </a:ext>
            </a:extLst>
          </p:cNvPr>
          <p:cNvSpPr/>
          <p:nvPr/>
        </p:nvSpPr>
        <p:spPr>
          <a:xfrm>
            <a:off x="8858050" y="1919576"/>
            <a:ext cx="2503205" cy="4937142"/>
          </a:xfrm>
          <a:prstGeom prst="rect">
            <a:avLst/>
          </a:prstGeom>
          <a:solidFill>
            <a:schemeClr val="tx1">
              <a:lumMod val="85000"/>
              <a:lumOff val="15000"/>
              <a:alpha val="6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24" name="Textfeld 4">
            <a:extLst>
              <a:ext uri="{FF2B5EF4-FFF2-40B4-BE49-F238E27FC236}">
                <a16:creationId xmlns:a16="http://schemas.microsoft.com/office/drawing/2014/main" id="{548D1EAE-2C88-4B1F-915D-2D5670F0F0BB}"/>
              </a:ext>
            </a:extLst>
          </p:cNvPr>
          <p:cNvSpPr txBox="1"/>
          <p:nvPr/>
        </p:nvSpPr>
        <p:spPr bwMode="gray">
          <a:xfrm>
            <a:off x="9279502" y="2051433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4</a:t>
            </a:r>
          </a:p>
        </p:txBody>
      </p:sp>
      <p:sp>
        <p:nvSpPr>
          <p:cNvPr id="25" name="Rectangle 25">
            <a:extLst>
              <a:ext uri="{FF2B5EF4-FFF2-40B4-BE49-F238E27FC236}">
                <a16:creationId xmlns:a16="http://schemas.microsoft.com/office/drawing/2014/main" id="{F067BC78-5203-463A-A5C4-19ED3C5BAEE2}"/>
              </a:ext>
            </a:extLst>
          </p:cNvPr>
          <p:cNvSpPr>
            <a:spLocks/>
          </p:cNvSpPr>
          <p:nvPr/>
        </p:nvSpPr>
        <p:spPr>
          <a:xfrm>
            <a:off x="9131221" y="3631667"/>
            <a:ext cx="2176918" cy="527901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dirty="0">
                <a:solidFill>
                  <a:srgbClr val="FFE600"/>
                </a:solidFill>
                <a:latin typeface="EYInterstate"/>
              </a:rPr>
              <a:t>Conclusiones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71541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See the source image">
            <a:extLst>
              <a:ext uri="{FF2B5EF4-FFF2-40B4-BE49-F238E27FC236}">
                <a16:creationId xmlns:a16="http://schemas.microsoft.com/office/drawing/2014/main" id="{5A37A321-7858-4304-ACF4-56D65A0E0B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9762" b="11287"/>
          <a:stretch/>
        </p:blipFill>
        <p:spPr bwMode="auto">
          <a:xfrm>
            <a:off x="0" y="0"/>
            <a:ext cx="12192000" cy="1329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16">
            <a:extLst>
              <a:ext uri="{FF2B5EF4-FFF2-40B4-BE49-F238E27FC236}">
                <a16:creationId xmlns:a16="http://schemas.microsoft.com/office/drawing/2014/main" id="{8D753FC9-03DD-4B05-8C9E-9C74B798D030}"/>
              </a:ext>
            </a:extLst>
          </p:cNvPr>
          <p:cNvSpPr/>
          <p:nvPr/>
        </p:nvSpPr>
        <p:spPr>
          <a:xfrm>
            <a:off x="-1" y="0"/>
            <a:ext cx="12191999" cy="1329070"/>
          </a:xfrm>
          <a:prstGeom prst="rect">
            <a:avLst/>
          </a:prstGeom>
          <a:solidFill>
            <a:srgbClr val="181717">
              <a:alpha val="50196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sp>
        <p:nvSpPr>
          <p:cNvPr id="13" name="Rectangle 16">
            <a:extLst>
              <a:ext uri="{FF2B5EF4-FFF2-40B4-BE49-F238E27FC236}">
                <a16:creationId xmlns:a16="http://schemas.microsoft.com/office/drawing/2014/main" id="{A64020C9-170A-47E0-BCE6-307F8396DBC2}"/>
              </a:ext>
            </a:extLst>
          </p:cNvPr>
          <p:cNvSpPr/>
          <p:nvPr/>
        </p:nvSpPr>
        <p:spPr>
          <a:xfrm>
            <a:off x="520992" y="340277"/>
            <a:ext cx="11142922" cy="871835"/>
          </a:xfrm>
          <a:prstGeom prst="rect">
            <a:avLst/>
          </a:prstGeom>
          <a:solidFill>
            <a:srgbClr val="181717">
              <a:alpha val="60000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sp>
        <p:nvSpPr>
          <p:cNvPr id="12" name="Rectangle 25">
            <a:extLst>
              <a:ext uri="{FF2B5EF4-FFF2-40B4-BE49-F238E27FC236}">
                <a16:creationId xmlns:a16="http://schemas.microsoft.com/office/drawing/2014/main" id="{F8437A2E-EABC-41F2-BE25-3976F4E299D5}"/>
              </a:ext>
            </a:extLst>
          </p:cNvPr>
          <p:cNvSpPr>
            <a:spLocks/>
          </p:cNvSpPr>
          <p:nvPr/>
        </p:nvSpPr>
        <p:spPr>
          <a:xfrm>
            <a:off x="528082" y="513304"/>
            <a:ext cx="11135832" cy="441724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2800" b="1" dirty="0" err="1">
                <a:solidFill>
                  <a:srgbClr val="FFE600"/>
                </a:solidFill>
                <a:latin typeface="EYInterstate"/>
              </a:rPr>
              <a:t>Clustering</a:t>
            </a:r>
            <a:endParaRPr lang="es-ES" sz="2800" b="1" dirty="0">
              <a:solidFill>
                <a:srgbClr val="FFE600"/>
              </a:solidFill>
              <a:latin typeface="EYInterstate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0FCE0E3-267F-4A3E-99EF-C53E3CF38239}"/>
              </a:ext>
            </a:extLst>
          </p:cNvPr>
          <p:cNvGrpSpPr/>
          <p:nvPr/>
        </p:nvGrpSpPr>
        <p:grpSpPr>
          <a:xfrm>
            <a:off x="11537879" y="6256962"/>
            <a:ext cx="501722" cy="467700"/>
            <a:chOff x="7101720" y="656022"/>
            <a:chExt cx="2518529" cy="2377221"/>
          </a:xfrm>
        </p:grpSpPr>
        <p:sp>
          <p:nvSpPr>
            <p:cNvPr id="22" name="object 16">
              <a:extLst>
                <a:ext uri="{FF2B5EF4-FFF2-40B4-BE49-F238E27FC236}">
                  <a16:creationId xmlns:a16="http://schemas.microsoft.com/office/drawing/2014/main" id="{C7D851D8-4EC5-4233-BDB2-579F05311FB9}"/>
                </a:ext>
              </a:extLst>
            </p:cNvPr>
            <p:cNvSpPr/>
            <p:nvPr/>
          </p:nvSpPr>
          <p:spPr>
            <a:xfrm>
              <a:off x="7116290" y="656022"/>
              <a:ext cx="2018209" cy="809100"/>
            </a:xfrm>
            <a:custGeom>
              <a:avLst/>
              <a:gdLst/>
              <a:ahLst/>
              <a:cxnLst/>
              <a:rect l="l" t="t" r="r" b="b"/>
              <a:pathLst>
                <a:path w="784225" h="286384">
                  <a:moveTo>
                    <a:pt x="784021" y="0"/>
                  </a:moveTo>
                  <a:lnTo>
                    <a:pt x="0" y="286156"/>
                  </a:lnTo>
                  <a:lnTo>
                    <a:pt x="784021" y="147650"/>
                  </a:lnTo>
                  <a:lnTo>
                    <a:pt x="784021" y="0"/>
                  </a:lnTo>
                  <a:close/>
                </a:path>
              </a:pathLst>
            </a:custGeom>
            <a:solidFill>
              <a:srgbClr val="FFD4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7">
              <a:extLst>
                <a:ext uri="{FF2B5EF4-FFF2-40B4-BE49-F238E27FC236}">
                  <a16:creationId xmlns:a16="http://schemas.microsoft.com/office/drawing/2014/main" id="{4F4ECBCC-F97F-4D3C-9073-B5EADA38EB9D}"/>
                </a:ext>
              </a:extLst>
            </p:cNvPr>
            <p:cNvSpPr/>
            <p:nvPr/>
          </p:nvSpPr>
          <p:spPr>
            <a:xfrm>
              <a:off x="7101720" y="1800553"/>
              <a:ext cx="2518529" cy="1232690"/>
            </a:xfrm>
            <a:prstGeom prst="rect">
              <a:avLst/>
            </a:prstGeom>
            <a:blipFill>
              <a:blip r:embed="rId5" cstate="print"/>
              <a:stretch>
                <a:fillRect b="-69966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D6FCB07C-95C2-4FD0-9CA1-AA4D21C6EE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8081" y="2641954"/>
            <a:ext cx="5136767" cy="3288945"/>
          </a:xfrm>
          <a:prstGeom prst="rect">
            <a:avLst/>
          </a:prstGeom>
        </p:spPr>
      </p:pic>
      <p:sp>
        <p:nvSpPr>
          <p:cNvPr id="18" name="Rectangle 25">
            <a:extLst>
              <a:ext uri="{FF2B5EF4-FFF2-40B4-BE49-F238E27FC236}">
                <a16:creationId xmlns:a16="http://schemas.microsoft.com/office/drawing/2014/main" id="{21271A2F-47D3-4649-933A-11682BD0F636}"/>
              </a:ext>
            </a:extLst>
          </p:cNvPr>
          <p:cNvSpPr>
            <a:spLocks/>
          </p:cNvSpPr>
          <p:nvPr/>
        </p:nvSpPr>
        <p:spPr>
          <a:xfrm>
            <a:off x="642382" y="1834616"/>
            <a:ext cx="1822620" cy="283989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EYInterstate"/>
                <a:ea typeface="+mn-ea"/>
                <a:cs typeface="+mn-cs"/>
              </a:rPr>
              <a:t>Elbow</a:t>
            </a: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"/>
                <a:ea typeface="+mn-ea"/>
                <a:cs typeface="+mn-cs"/>
              </a:rPr>
              <a:t> </a:t>
            </a:r>
            <a:r>
              <a:rPr kumimoji="0" lang="es-ES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EYInterstate"/>
                <a:ea typeface="+mn-ea"/>
                <a:cs typeface="+mn-cs"/>
              </a:rPr>
              <a:t>Method</a:t>
            </a:r>
            <a:endParaRPr kumimoji="0" lang="es-ES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F0ADD93-471C-46AE-BADA-4188321309FF}"/>
              </a:ext>
            </a:extLst>
          </p:cNvPr>
          <p:cNvSpPr/>
          <p:nvPr/>
        </p:nvSpPr>
        <p:spPr>
          <a:xfrm>
            <a:off x="1813021" y="4880626"/>
            <a:ext cx="333279" cy="337293"/>
          </a:xfrm>
          <a:prstGeom prst="ellipse">
            <a:avLst/>
          </a:prstGeom>
          <a:noFill/>
          <a:ln w="19050" cap="rnd">
            <a:solidFill>
              <a:srgbClr val="540000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4000" dirty="0">
              <a:solidFill>
                <a:srgbClr val="FFE600"/>
              </a:solidFill>
              <a:latin typeface="EYInterstate" panose="02000503020000020004" pitchFamily="2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D1FEE18-6BCB-4F1F-92E6-1AA3944C47E6}"/>
              </a:ext>
            </a:extLst>
          </p:cNvPr>
          <p:cNvCxnSpPr/>
          <p:nvPr/>
        </p:nvCxnSpPr>
        <p:spPr>
          <a:xfrm>
            <a:off x="1979660" y="5205219"/>
            <a:ext cx="0" cy="433581"/>
          </a:xfrm>
          <a:prstGeom prst="line">
            <a:avLst/>
          </a:prstGeom>
          <a:ln w="9525">
            <a:solidFill>
              <a:srgbClr val="5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5">
            <a:extLst>
              <a:ext uri="{FF2B5EF4-FFF2-40B4-BE49-F238E27FC236}">
                <a16:creationId xmlns:a16="http://schemas.microsoft.com/office/drawing/2014/main" id="{842F43D3-79D9-4B27-BF46-6A868AD604F7}"/>
              </a:ext>
            </a:extLst>
          </p:cNvPr>
          <p:cNvSpPr>
            <a:spLocks/>
          </p:cNvSpPr>
          <p:nvPr/>
        </p:nvSpPr>
        <p:spPr>
          <a:xfrm>
            <a:off x="2185154" y="4659732"/>
            <a:ext cx="1822620" cy="220894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"/>
                <a:ea typeface="+mn-ea"/>
                <a:cs typeface="+mn-cs"/>
              </a:rPr>
              <a:t>K = 5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9BB11CA-5133-43A4-BDA1-54CCF8B2B1E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6259"/>
          <a:stretch/>
        </p:blipFill>
        <p:spPr>
          <a:xfrm>
            <a:off x="6044732" y="2388140"/>
            <a:ext cx="5357519" cy="3542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1400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See the source image">
            <a:extLst>
              <a:ext uri="{FF2B5EF4-FFF2-40B4-BE49-F238E27FC236}">
                <a16:creationId xmlns:a16="http://schemas.microsoft.com/office/drawing/2014/main" id="{5A37A321-7858-4304-ACF4-56D65A0E0B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9762" b="11287"/>
          <a:stretch/>
        </p:blipFill>
        <p:spPr bwMode="auto">
          <a:xfrm>
            <a:off x="0" y="0"/>
            <a:ext cx="12192000" cy="1329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16">
            <a:extLst>
              <a:ext uri="{FF2B5EF4-FFF2-40B4-BE49-F238E27FC236}">
                <a16:creationId xmlns:a16="http://schemas.microsoft.com/office/drawing/2014/main" id="{8D753FC9-03DD-4B05-8C9E-9C74B798D030}"/>
              </a:ext>
            </a:extLst>
          </p:cNvPr>
          <p:cNvSpPr/>
          <p:nvPr/>
        </p:nvSpPr>
        <p:spPr>
          <a:xfrm>
            <a:off x="-1" y="0"/>
            <a:ext cx="12191999" cy="1329070"/>
          </a:xfrm>
          <a:prstGeom prst="rect">
            <a:avLst/>
          </a:prstGeom>
          <a:solidFill>
            <a:srgbClr val="181717">
              <a:alpha val="50196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sp>
        <p:nvSpPr>
          <p:cNvPr id="13" name="Rectangle 16">
            <a:extLst>
              <a:ext uri="{FF2B5EF4-FFF2-40B4-BE49-F238E27FC236}">
                <a16:creationId xmlns:a16="http://schemas.microsoft.com/office/drawing/2014/main" id="{A64020C9-170A-47E0-BCE6-307F8396DBC2}"/>
              </a:ext>
            </a:extLst>
          </p:cNvPr>
          <p:cNvSpPr/>
          <p:nvPr/>
        </p:nvSpPr>
        <p:spPr>
          <a:xfrm>
            <a:off x="520992" y="340277"/>
            <a:ext cx="11142922" cy="871835"/>
          </a:xfrm>
          <a:prstGeom prst="rect">
            <a:avLst/>
          </a:prstGeom>
          <a:solidFill>
            <a:srgbClr val="181717">
              <a:alpha val="60000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sp>
        <p:nvSpPr>
          <p:cNvPr id="12" name="Rectangle 25">
            <a:extLst>
              <a:ext uri="{FF2B5EF4-FFF2-40B4-BE49-F238E27FC236}">
                <a16:creationId xmlns:a16="http://schemas.microsoft.com/office/drawing/2014/main" id="{F8437A2E-EABC-41F2-BE25-3976F4E299D5}"/>
              </a:ext>
            </a:extLst>
          </p:cNvPr>
          <p:cNvSpPr>
            <a:spLocks/>
          </p:cNvSpPr>
          <p:nvPr/>
        </p:nvSpPr>
        <p:spPr>
          <a:xfrm>
            <a:off x="528082" y="513304"/>
            <a:ext cx="11135832" cy="441724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2800" b="1" dirty="0" err="1">
                <a:solidFill>
                  <a:srgbClr val="FFE600"/>
                </a:solidFill>
                <a:latin typeface="EYInterstate"/>
              </a:rPr>
              <a:t>Clustering</a:t>
            </a:r>
            <a:endParaRPr lang="es-ES" sz="2800" b="1" dirty="0">
              <a:solidFill>
                <a:srgbClr val="FFE600"/>
              </a:solidFill>
              <a:latin typeface="EYInterstate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0FCE0E3-267F-4A3E-99EF-C53E3CF38239}"/>
              </a:ext>
            </a:extLst>
          </p:cNvPr>
          <p:cNvGrpSpPr/>
          <p:nvPr/>
        </p:nvGrpSpPr>
        <p:grpSpPr>
          <a:xfrm>
            <a:off x="11537879" y="6256962"/>
            <a:ext cx="501722" cy="467700"/>
            <a:chOff x="7101720" y="656022"/>
            <a:chExt cx="2518529" cy="2377221"/>
          </a:xfrm>
        </p:grpSpPr>
        <p:sp>
          <p:nvSpPr>
            <p:cNvPr id="22" name="object 16">
              <a:extLst>
                <a:ext uri="{FF2B5EF4-FFF2-40B4-BE49-F238E27FC236}">
                  <a16:creationId xmlns:a16="http://schemas.microsoft.com/office/drawing/2014/main" id="{C7D851D8-4EC5-4233-BDB2-579F05311FB9}"/>
                </a:ext>
              </a:extLst>
            </p:cNvPr>
            <p:cNvSpPr/>
            <p:nvPr/>
          </p:nvSpPr>
          <p:spPr>
            <a:xfrm>
              <a:off x="7116290" y="656022"/>
              <a:ext cx="2018209" cy="809100"/>
            </a:xfrm>
            <a:custGeom>
              <a:avLst/>
              <a:gdLst/>
              <a:ahLst/>
              <a:cxnLst/>
              <a:rect l="l" t="t" r="r" b="b"/>
              <a:pathLst>
                <a:path w="784225" h="286384">
                  <a:moveTo>
                    <a:pt x="784021" y="0"/>
                  </a:moveTo>
                  <a:lnTo>
                    <a:pt x="0" y="286156"/>
                  </a:lnTo>
                  <a:lnTo>
                    <a:pt x="784021" y="147650"/>
                  </a:lnTo>
                  <a:lnTo>
                    <a:pt x="784021" y="0"/>
                  </a:lnTo>
                  <a:close/>
                </a:path>
              </a:pathLst>
            </a:custGeom>
            <a:solidFill>
              <a:srgbClr val="FFD4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7">
              <a:extLst>
                <a:ext uri="{FF2B5EF4-FFF2-40B4-BE49-F238E27FC236}">
                  <a16:creationId xmlns:a16="http://schemas.microsoft.com/office/drawing/2014/main" id="{4F4ECBCC-F97F-4D3C-9073-B5EADA38EB9D}"/>
                </a:ext>
              </a:extLst>
            </p:cNvPr>
            <p:cNvSpPr/>
            <p:nvPr/>
          </p:nvSpPr>
          <p:spPr>
            <a:xfrm>
              <a:off x="7101720" y="1800553"/>
              <a:ext cx="2518529" cy="1232690"/>
            </a:xfrm>
            <a:prstGeom prst="rect">
              <a:avLst/>
            </a:prstGeom>
            <a:blipFill>
              <a:blip r:embed="rId5" cstate="print"/>
              <a:stretch>
                <a:fillRect b="-69966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69DF5693-8F84-444A-B022-E71F96595E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2149" y="1669347"/>
            <a:ext cx="10807701" cy="4452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7544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See the source image">
            <a:extLst>
              <a:ext uri="{FF2B5EF4-FFF2-40B4-BE49-F238E27FC236}">
                <a16:creationId xmlns:a16="http://schemas.microsoft.com/office/drawing/2014/main" id="{5A37A321-7858-4304-ACF4-56D65A0E0B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9762" b="11287"/>
          <a:stretch/>
        </p:blipFill>
        <p:spPr bwMode="auto">
          <a:xfrm>
            <a:off x="0" y="0"/>
            <a:ext cx="12192000" cy="1329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16">
            <a:extLst>
              <a:ext uri="{FF2B5EF4-FFF2-40B4-BE49-F238E27FC236}">
                <a16:creationId xmlns:a16="http://schemas.microsoft.com/office/drawing/2014/main" id="{8D753FC9-03DD-4B05-8C9E-9C74B798D030}"/>
              </a:ext>
            </a:extLst>
          </p:cNvPr>
          <p:cNvSpPr/>
          <p:nvPr/>
        </p:nvSpPr>
        <p:spPr>
          <a:xfrm>
            <a:off x="-1" y="0"/>
            <a:ext cx="12191999" cy="1329070"/>
          </a:xfrm>
          <a:prstGeom prst="rect">
            <a:avLst/>
          </a:prstGeom>
          <a:solidFill>
            <a:srgbClr val="181717">
              <a:alpha val="50196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sp>
        <p:nvSpPr>
          <p:cNvPr id="13" name="Rectangle 16">
            <a:extLst>
              <a:ext uri="{FF2B5EF4-FFF2-40B4-BE49-F238E27FC236}">
                <a16:creationId xmlns:a16="http://schemas.microsoft.com/office/drawing/2014/main" id="{A64020C9-170A-47E0-BCE6-307F8396DBC2}"/>
              </a:ext>
            </a:extLst>
          </p:cNvPr>
          <p:cNvSpPr/>
          <p:nvPr/>
        </p:nvSpPr>
        <p:spPr>
          <a:xfrm>
            <a:off x="520992" y="340277"/>
            <a:ext cx="11142922" cy="871835"/>
          </a:xfrm>
          <a:prstGeom prst="rect">
            <a:avLst/>
          </a:prstGeom>
          <a:solidFill>
            <a:srgbClr val="181717">
              <a:alpha val="60000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sp>
        <p:nvSpPr>
          <p:cNvPr id="12" name="Rectangle 25">
            <a:extLst>
              <a:ext uri="{FF2B5EF4-FFF2-40B4-BE49-F238E27FC236}">
                <a16:creationId xmlns:a16="http://schemas.microsoft.com/office/drawing/2014/main" id="{F8437A2E-EABC-41F2-BE25-3976F4E299D5}"/>
              </a:ext>
            </a:extLst>
          </p:cNvPr>
          <p:cNvSpPr>
            <a:spLocks/>
          </p:cNvSpPr>
          <p:nvPr/>
        </p:nvSpPr>
        <p:spPr>
          <a:xfrm>
            <a:off x="528082" y="513304"/>
            <a:ext cx="11135832" cy="441724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2800" b="1" dirty="0" err="1">
                <a:solidFill>
                  <a:srgbClr val="FFE600"/>
                </a:solidFill>
                <a:latin typeface="EYInterstate"/>
              </a:rPr>
              <a:t>PowerBI</a:t>
            </a:r>
            <a:endParaRPr lang="es-ES" sz="2800" b="1" dirty="0">
              <a:solidFill>
                <a:srgbClr val="FFE600"/>
              </a:solidFill>
              <a:latin typeface="EYInterstate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0FCE0E3-267F-4A3E-99EF-C53E3CF38239}"/>
              </a:ext>
            </a:extLst>
          </p:cNvPr>
          <p:cNvGrpSpPr/>
          <p:nvPr/>
        </p:nvGrpSpPr>
        <p:grpSpPr>
          <a:xfrm>
            <a:off x="11537879" y="6256962"/>
            <a:ext cx="501722" cy="467700"/>
            <a:chOff x="7101720" y="656022"/>
            <a:chExt cx="2518529" cy="2377221"/>
          </a:xfrm>
        </p:grpSpPr>
        <p:sp>
          <p:nvSpPr>
            <p:cNvPr id="22" name="object 16">
              <a:extLst>
                <a:ext uri="{FF2B5EF4-FFF2-40B4-BE49-F238E27FC236}">
                  <a16:creationId xmlns:a16="http://schemas.microsoft.com/office/drawing/2014/main" id="{C7D851D8-4EC5-4233-BDB2-579F05311FB9}"/>
                </a:ext>
              </a:extLst>
            </p:cNvPr>
            <p:cNvSpPr/>
            <p:nvPr/>
          </p:nvSpPr>
          <p:spPr>
            <a:xfrm>
              <a:off x="7116290" y="656022"/>
              <a:ext cx="2018209" cy="809100"/>
            </a:xfrm>
            <a:custGeom>
              <a:avLst/>
              <a:gdLst/>
              <a:ahLst/>
              <a:cxnLst/>
              <a:rect l="l" t="t" r="r" b="b"/>
              <a:pathLst>
                <a:path w="784225" h="286384">
                  <a:moveTo>
                    <a:pt x="784021" y="0"/>
                  </a:moveTo>
                  <a:lnTo>
                    <a:pt x="0" y="286156"/>
                  </a:lnTo>
                  <a:lnTo>
                    <a:pt x="784021" y="147650"/>
                  </a:lnTo>
                  <a:lnTo>
                    <a:pt x="784021" y="0"/>
                  </a:lnTo>
                  <a:close/>
                </a:path>
              </a:pathLst>
            </a:custGeom>
            <a:solidFill>
              <a:srgbClr val="FFD4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7">
              <a:extLst>
                <a:ext uri="{FF2B5EF4-FFF2-40B4-BE49-F238E27FC236}">
                  <a16:creationId xmlns:a16="http://schemas.microsoft.com/office/drawing/2014/main" id="{4F4ECBCC-F97F-4D3C-9073-B5EADA38EB9D}"/>
                </a:ext>
              </a:extLst>
            </p:cNvPr>
            <p:cNvSpPr/>
            <p:nvPr/>
          </p:nvSpPr>
          <p:spPr>
            <a:xfrm>
              <a:off x="7101720" y="1800553"/>
              <a:ext cx="2518529" cy="1232690"/>
            </a:xfrm>
            <a:prstGeom prst="rect">
              <a:avLst/>
            </a:prstGeom>
            <a:blipFill>
              <a:blip r:embed="rId5" cstate="print"/>
              <a:stretch>
                <a:fillRect b="-69966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D2C01408-F5D7-4912-BE24-B1266570C8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8082" y="1787540"/>
            <a:ext cx="8512175" cy="4730183"/>
          </a:xfrm>
          <a:prstGeom prst="rect">
            <a:avLst/>
          </a:prstGeom>
        </p:spPr>
      </p:pic>
      <p:sp>
        <p:nvSpPr>
          <p:cNvPr id="14" name="Rectangle 25">
            <a:extLst>
              <a:ext uri="{FF2B5EF4-FFF2-40B4-BE49-F238E27FC236}">
                <a16:creationId xmlns:a16="http://schemas.microsoft.com/office/drawing/2014/main" id="{D175796E-2B63-4BA8-85E4-A241B291B639}"/>
              </a:ext>
            </a:extLst>
          </p:cNvPr>
          <p:cNvSpPr>
            <a:spLocks/>
          </p:cNvSpPr>
          <p:nvPr/>
        </p:nvSpPr>
        <p:spPr>
          <a:xfrm>
            <a:off x="9309100" y="2101232"/>
            <a:ext cx="2228779" cy="3608745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"/>
                <a:ea typeface="+mn-ea"/>
                <a:cs typeface="+mn-cs"/>
              </a:rPr>
              <a:t>Mayor presión fiscal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s-ES" sz="1600" dirty="0">
                <a:latin typeface="EYInterstate"/>
              </a:rPr>
              <a:t>Dinamarca</a:t>
            </a: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s-ES" sz="1600" dirty="0">
                <a:latin typeface="EYInterstate"/>
              </a:rPr>
              <a:t>Francia</a:t>
            </a: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s-ES" sz="1600" dirty="0">
                <a:latin typeface="EYInterstate"/>
              </a:rPr>
              <a:t>Bélgica</a:t>
            </a: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s-ES" sz="1600" dirty="0">
                <a:latin typeface="EYInterstate"/>
              </a:rPr>
              <a:t>Suiza</a:t>
            </a: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s-ES" sz="1600" dirty="0">
                <a:latin typeface="EYInterstate"/>
              </a:rPr>
              <a:t>Italia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1600" dirty="0">
              <a:latin typeface="EYInterstate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"/>
                <a:ea typeface="+mn-ea"/>
                <a:cs typeface="+mn-cs"/>
              </a:rPr>
              <a:t>Menor presión fiscal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s-ES" sz="1600" dirty="0">
                <a:latin typeface="EYInterstate"/>
              </a:rPr>
              <a:t>Emiratos Árab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s-E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"/>
                <a:ea typeface="+mn-ea"/>
                <a:cs typeface="+mn-cs"/>
              </a:rPr>
              <a:t>Bermudas</a:t>
            </a:r>
            <a:endParaRPr kumimoji="0" lang="es-E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56252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0E57036E-FFC2-499F-A708-84DED8A9653E}"/>
              </a:ext>
            </a:extLst>
          </p:cNvPr>
          <p:cNvGrpSpPr/>
          <p:nvPr/>
        </p:nvGrpSpPr>
        <p:grpSpPr>
          <a:xfrm>
            <a:off x="11537879" y="6256962"/>
            <a:ext cx="501722" cy="467700"/>
            <a:chOff x="7101720" y="656022"/>
            <a:chExt cx="2518529" cy="2377221"/>
          </a:xfrm>
        </p:grpSpPr>
        <p:sp>
          <p:nvSpPr>
            <p:cNvPr id="5" name="object 16">
              <a:extLst>
                <a:ext uri="{FF2B5EF4-FFF2-40B4-BE49-F238E27FC236}">
                  <a16:creationId xmlns:a16="http://schemas.microsoft.com/office/drawing/2014/main" id="{62A7BE38-F4F4-4CD3-81D0-5DD0FB050F34}"/>
                </a:ext>
              </a:extLst>
            </p:cNvPr>
            <p:cNvSpPr/>
            <p:nvPr/>
          </p:nvSpPr>
          <p:spPr>
            <a:xfrm>
              <a:off x="7116290" y="656022"/>
              <a:ext cx="2018209" cy="809100"/>
            </a:xfrm>
            <a:custGeom>
              <a:avLst/>
              <a:gdLst/>
              <a:ahLst/>
              <a:cxnLst/>
              <a:rect l="l" t="t" r="r" b="b"/>
              <a:pathLst>
                <a:path w="784225" h="286384">
                  <a:moveTo>
                    <a:pt x="784021" y="0"/>
                  </a:moveTo>
                  <a:lnTo>
                    <a:pt x="0" y="286156"/>
                  </a:lnTo>
                  <a:lnTo>
                    <a:pt x="784021" y="147650"/>
                  </a:lnTo>
                  <a:lnTo>
                    <a:pt x="784021" y="0"/>
                  </a:lnTo>
                  <a:close/>
                </a:path>
              </a:pathLst>
            </a:custGeom>
            <a:solidFill>
              <a:srgbClr val="FFD4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17">
              <a:extLst>
                <a:ext uri="{FF2B5EF4-FFF2-40B4-BE49-F238E27FC236}">
                  <a16:creationId xmlns:a16="http://schemas.microsoft.com/office/drawing/2014/main" id="{253F1041-BEA7-4613-8121-E3EAEF562B7F}"/>
                </a:ext>
              </a:extLst>
            </p:cNvPr>
            <p:cNvSpPr/>
            <p:nvPr/>
          </p:nvSpPr>
          <p:spPr>
            <a:xfrm>
              <a:off x="7101720" y="1800553"/>
              <a:ext cx="2518529" cy="1232690"/>
            </a:xfrm>
            <a:prstGeom prst="rect">
              <a:avLst/>
            </a:prstGeom>
            <a:blipFill>
              <a:blip r:embed="rId3" cstate="print"/>
              <a:stretch>
                <a:fillRect b="-69966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1" name="Picture 2" descr="See the source image">
            <a:extLst>
              <a:ext uri="{FF2B5EF4-FFF2-40B4-BE49-F238E27FC236}">
                <a16:creationId xmlns:a16="http://schemas.microsoft.com/office/drawing/2014/main" id="{CE4EB99B-531C-4194-BE98-407A0898FEE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7911" b="11287"/>
          <a:stretch/>
        </p:blipFill>
        <p:spPr bwMode="auto">
          <a:xfrm>
            <a:off x="0" y="-27805"/>
            <a:ext cx="12192000" cy="757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6">
            <a:extLst>
              <a:ext uri="{FF2B5EF4-FFF2-40B4-BE49-F238E27FC236}">
                <a16:creationId xmlns:a16="http://schemas.microsoft.com/office/drawing/2014/main" id="{908E0EC7-190B-4A82-B4B2-B40502AA6230}"/>
              </a:ext>
            </a:extLst>
          </p:cNvPr>
          <p:cNvSpPr/>
          <p:nvPr/>
        </p:nvSpPr>
        <p:spPr>
          <a:xfrm>
            <a:off x="7088" y="-27805"/>
            <a:ext cx="12191999" cy="737413"/>
          </a:xfrm>
          <a:prstGeom prst="rect">
            <a:avLst/>
          </a:prstGeom>
          <a:solidFill>
            <a:srgbClr val="181717">
              <a:alpha val="50196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sp>
        <p:nvSpPr>
          <p:cNvPr id="13" name="Rectangle 16">
            <a:extLst>
              <a:ext uri="{FF2B5EF4-FFF2-40B4-BE49-F238E27FC236}">
                <a16:creationId xmlns:a16="http://schemas.microsoft.com/office/drawing/2014/main" id="{C42AAD1A-F065-4725-8860-30F2E002DFA8}"/>
              </a:ext>
            </a:extLst>
          </p:cNvPr>
          <p:cNvSpPr/>
          <p:nvPr/>
        </p:nvSpPr>
        <p:spPr>
          <a:xfrm>
            <a:off x="394957" y="134406"/>
            <a:ext cx="11142922" cy="441724"/>
          </a:xfrm>
          <a:prstGeom prst="rect">
            <a:avLst/>
          </a:prstGeom>
          <a:solidFill>
            <a:srgbClr val="181717">
              <a:alpha val="60000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sp>
        <p:nvSpPr>
          <p:cNvPr id="14" name="Rectangle 25">
            <a:extLst>
              <a:ext uri="{FF2B5EF4-FFF2-40B4-BE49-F238E27FC236}">
                <a16:creationId xmlns:a16="http://schemas.microsoft.com/office/drawing/2014/main" id="{A2C30F60-9954-4040-AC09-45DFC753486B}"/>
              </a:ext>
            </a:extLst>
          </p:cNvPr>
          <p:cNvSpPr>
            <a:spLocks/>
          </p:cNvSpPr>
          <p:nvPr/>
        </p:nvSpPr>
        <p:spPr>
          <a:xfrm>
            <a:off x="528084" y="120039"/>
            <a:ext cx="11135832" cy="441724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2800" b="1" dirty="0" err="1">
                <a:solidFill>
                  <a:srgbClr val="FFE600"/>
                </a:solidFill>
                <a:latin typeface="EYInterstate"/>
              </a:rPr>
              <a:t>Dashboard</a:t>
            </a:r>
            <a:endParaRPr lang="es-ES" sz="2800" b="1" dirty="0">
              <a:solidFill>
                <a:srgbClr val="FFE600"/>
              </a:solidFill>
              <a:latin typeface="EYInterstate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D37C7FF-7CEE-4D9C-BC6F-C1A914A6A83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757" t="1204" r="981" b="1606"/>
          <a:stretch/>
        </p:blipFill>
        <p:spPr>
          <a:xfrm>
            <a:off x="844533" y="897015"/>
            <a:ext cx="10243770" cy="5764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9942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See the source image">
            <a:extLst>
              <a:ext uri="{FF2B5EF4-FFF2-40B4-BE49-F238E27FC236}">
                <a16:creationId xmlns:a16="http://schemas.microsoft.com/office/drawing/2014/main" id="{DB37842D-4A7A-417A-AE55-627651A4A5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548" y="-3674"/>
            <a:ext cx="12205548" cy="6865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el 8">
            <a:extLst>
              <a:ext uri="{FF2B5EF4-FFF2-40B4-BE49-F238E27FC236}">
                <a16:creationId xmlns:a16="http://schemas.microsoft.com/office/drawing/2014/main" id="{42434769-5392-4D86-BD76-5C8CAC333A2C}"/>
              </a:ext>
            </a:extLst>
          </p:cNvPr>
          <p:cNvSpPr txBox="1">
            <a:spLocks/>
          </p:cNvSpPr>
          <p:nvPr/>
        </p:nvSpPr>
        <p:spPr>
          <a:xfrm>
            <a:off x="673418" y="294200"/>
            <a:ext cx="10978515" cy="590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defPPr>
              <a:defRPr lang="es-E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4400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gend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92F88FF-5AE0-4004-98F9-FEBEF5809D29}"/>
              </a:ext>
            </a:extLst>
          </p:cNvPr>
          <p:cNvCxnSpPr>
            <a:cxnSpLocks/>
          </p:cNvCxnSpPr>
          <p:nvPr/>
        </p:nvCxnSpPr>
        <p:spPr>
          <a:xfrm>
            <a:off x="714514" y="884600"/>
            <a:ext cx="1617720" cy="0"/>
          </a:xfrm>
          <a:prstGeom prst="line">
            <a:avLst/>
          </a:prstGeom>
          <a:ln w="38100">
            <a:solidFill>
              <a:srgbClr val="FCF6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6">
            <a:extLst>
              <a:ext uri="{FF2B5EF4-FFF2-40B4-BE49-F238E27FC236}">
                <a16:creationId xmlns:a16="http://schemas.microsoft.com/office/drawing/2014/main" id="{BE820A95-F062-4388-A79B-48F266E805A4}"/>
              </a:ext>
            </a:extLst>
          </p:cNvPr>
          <p:cNvSpPr/>
          <p:nvPr/>
        </p:nvSpPr>
        <p:spPr>
          <a:xfrm>
            <a:off x="3299953" y="1920858"/>
            <a:ext cx="2503205" cy="4937142"/>
          </a:xfrm>
          <a:prstGeom prst="rect">
            <a:avLst/>
          </a:prstGeom>
          <a:solidFill>
            <a:schemeClr val="tx1">
              <a:lumMod val="85000"/>
              <a:lumOff val="15000"/>
              <a:alpha val="6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12" name="Rectangle 16">
            <a:extLst>
              <a:ext uri="{FF2B5EF4-FFF2-40B4-BE49-F238E27FC236}">
                <a16:creationId xmlns:a16="http://schemas.microsoft.com/office/drawing/2014/main" id="{069E4ECC-4B02-4736-82ED-7F2CFDE2C8EC}"/>
              </a:ext>
            </a:extLst>
          </p:cNvPr>
          <p:cNvSpPr/>
          <p:nvPr/>
        </p:nvSpPr>
        <p:spPr>
          <a:xfrm>
            <a:off x="6098073" y="1920858"/>
            <a:ext cx="2503205" cy="4937142"/>
          </a:xfrm>
          <a:prstGeom prst="rect">
            <a:avLst/>
          </a:prstGeom>
          <a:solidFill>
            <a:schemeClr val="tx1">
              <a:lumMod val="85000"/>
              <a:lumOff val="15000"/>
              <a:alpha val="6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13" name="Rectangle 16">
            <a:extLst>
              <a:ext uri="{FF2B5EF4-FFF2-40B4-BE49-F238E27FC236}">
                <a16:creationId xmlns:a16="http://schemas.microsoft.com/office/drawing/2014/main" id="{D78DF02B-BDC7-43AA-90A7-9181AFACBB99}"/>
              </a:ext>
            </a:extLst>
          </p:cNvPr>
          <p:cNvSpPr/>
          <p:nvPr/>
        </p:nvSpPr>
        <p:spPr>
          <a:xfrm>
            <a:off x="498849" y="1920858"/>
            <a:ext cx="2503205" cy="4937142"/>
          </a:xfrm>
          <a:prstGeom prst="rect">
            <a:avLst/>
          </a:prstGeom>
          <a:solidFill>
            <a:schemeClr val="tx1">
              <a:lumMod val="85000"/>
              <a:lumOff val="15000"/>
              <a:alpha val="6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sp>
        <p:nvSpPr>
          <p:cNvPr id="14" name="Textfeld 4">
            <a:extLst>
              <a:ext uri="{FF2B5EF4-FFF2-40B4-BE49-F238E27FC236}">
                <a16:creationId xmlns:a16="http://schemas.microsoft.com/office/drawing/2014/main" id="{9194B14F-EB6D-485A-ABC7-46A8A20FD06C}"/>
              </a:ext>
            </a:extLst>
          </p:cNvPr>
          <p:cNvSpPr txBox="1"/>
          <p:nvPr/>
        </p:nvSpPr>
        <p:spPr bwMode="gray">
          <a:xfrm>
            <a:off x="3653610" y="2052715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2</a:t>
            </a:r>
          </a:p>
        </p:txBody>
      </p:sp>
      <p:sp>
        <p:nvSpPr>
          <p:cNvPr id="15" name="Textfeld 4">
            <a:extLst>
              <a:ext uri="{FF2B5EF4-FFF2-40B4-BE49-F238E27FC236}">
                <a16:creationId xmlns:a16="http://schemas.microsoft.com/office/drawing/2014/main" id="{4ABDBE3C-76DA-4FC2-91E0-A28BDA73D8C2}"/>
              </a:ext>
            </a:extLst>
          </p:cNvPr>
          <p:cNvSpPr txBox="1"/>
          <p:nvPr/>
        </p:nvSpPr>
        <p:spPr bwMode="gray">
          <a:xfrm>
            <a:off x="6519525" y="2052715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3</a:t>
            </a:r>
          </a:p>
        </p:txBody>
      </p:sp>
      <p:sp>
        <p:nvSpPr>
          <p:cNvPr id="16" name="Textfeld 4">
            <a:extLst>
              <a:ext uri="{FF2B5EF4-FFF2-40B4-BE49-F238E27FC236}">
                <a16:creationId xmlns:a16="http://schemas.microsoft.com/office/drawing/2014/main" id="{C61A20B8-DABD-4DE0-9C63-E6E0343D8A7F}"/>
              </a:ext>
            </a:extLst>
          </p:cNvPr>
          <p:cNvSpPr txBox="1"/>
          <p:nvPr/>
        </p:nvSpPr>
        <p:spPr bwMode="gray">
          <a:xfrm>
            <a:off x="749887" y="2052715"/>
            <a:ext cx="606626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</a:t>
            </a:r>
            <a:endParaRPr kumimoji="0" lang="en-US" sz="8000" b="0" i="0" u="none" strike="noStrike" kern="0" cap="none" spc="0" normalizeH="0" baseline="0" noProof="0" dirty="0">
              <a:ln w="12700">
                <a:noFill/>
              </a:ln>
              <a:solidFill>
                <a:prstClr val="white">
                  <a:alpha val="70000"/>
                </a:prstClr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7" name="Rectangle 25">
            <a:extLst>
              <a:ext uri="{FF2B5EF4-FFF2-40B4-BE49-F238E27FC236}">
                <a16:creationId xmlns:a16="http://schemas.microsoft.com/office/drawing/2014/main" id="{247A2BC3-B3FC-4822-B443-19FC609F37E3}"/>
              </a:ext>
            </a:extLst>
          </p:cNvPr>
          <p:cNvSpPr>
            <a:spLocks/>
          </p:cNvSpPr>
          <p:nvPr/>
        </p:nvSpPr>
        <p:spPr>
          <a:xfrm>
            <a:off x="883861" y="3652239"/>
            <a:ext cx="1822620" cy="527901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Introducción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8" name="Rectangle 25">
            <a:extLst>
              <a:ext uri="{FF2B5EF4-FFF2-40B4-BE49-F238E27FC236}">
                <a16:creationId xmlns:a16="http://schemas.microsoft.com/office/drawing/2014/main" id="{EA57CDEB-A4F1-4FB1-89F5-5BADFE5D8788}"/>
              </a:ext>
            </a:extLst>
          </p:cNvPr>
          <p:cNvSpPr>
            <a:spLocks/>
          </p:cNvSpPr>
          <p:nvPr/>
        </p:nvSpPr>
        <p:spPr>
          <a:xfrm>
            <a:off x="3623182" y="3652239"/>
            <a:ext cx="1932432" cy="866456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dirty="0">
                <a:solidFill>
                  <a:srgbClr val="FFE600"/>
                </a:solidFill>
                <a:latin typeface="EYInterstate"/>
              </a:rPr>
              <a:t>Estudio de Datos y Modelo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9" name="Rectangle 25">
            <a:extLst>
              <a:ext uri="{FF2B5EF4-FFF2-40B4-BE49-F238E27FC236}">
                <a16:creationId xmlns:a16="http://schemas.microsoft.com/office/drawing/2014/main" id="{75CF3A2A-D467-47B7-835B-E44233823F31}"/>
              </a:ext>
            </a:extLst>
          </p:cNvPr>
          <p:cNvSpPr>
            <a:spLocks/>
          </p:cNvSpPr>
          <p:nvPr/>
        </p:nvSpPr>
        <p:spPr>
          <a:xfrm>
            <a:off x="6483084" y="3652239"/>
            <a:ext cx="1967551" cy="866456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Visualización de Datos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CE49DD9-4EDE-4143-9621-EBC49580BAEE}"/>
              </a:ext>
            </a:extLst>
          </p:cNvPr>
          <p:cNvGrpSpPr/>
          <p:nvPr/>
        </p:nvGrpSpPr>
        <p:grpSpPr>
          <a:xfrm>
            <a:off x="11537879" y="6256962"/>
            <a:ext cx="501722" cy="467700"/>
            <a:chOff x="7101720" y="656022"/>
            <a:chExt cx="2518529" cy="2377221"/>
          </a:xfrm>
        </p:grpSpPr>
        <p:sp>
          <p:nvSpPr>
            <p:cNvPr id="21" name="object 16">
              <a:extLst>
                <a:ext uri="{FF2B5EF4-FFF2-40B4-BE49-F238E27FC236}">
                  <a16:creationId xmlns:a16="http://schemas.microsoft.com/office/drawing/2014/main" id="{29A12E78-FB47-482F-80E0-D6B92807EF76}"/>
                </a:ext>
              </a:extLst>
            </p:cNvPr>
            <p:cNvSpPr/>
            <p:nvPr/>
          </p:nvSpPr>
          <p:spPr>
            <a:xfrm>
              <a:off x="7116290" y="656022"/>
              <a:ext cx="2018209" cy="809100"/>
            </a:xfrm>
            <a:custGeom>
              <a:avLst/>
              <a:gdLst/>
              <a:ahLst/>
              <a:cxnLst/>
              <a:rect l="l" t="t" r="r" b="b"/>
              <a:pathLst>
                <a:path w="784225" h="286384">
                  <a:moveTo>
                    <a:pt x="784021" y="0"/>
                  </a:moveTo>
                  <a:lnTo>
                    <a:pt x="0" y="286156"/>
                  </a:lnTo>
                  <a:lnTo>
                    <a:pt x="784021" y="147650"/>
                  </a:lnTo>
                  <a:lnTo>
                    <a:pt x="784021" y="0"/>
                  </a:lnTo>
                  <a:close/>
                </a:path>
              </a:pathLst>
            </a:custGeom>
            <a:solidFill>
              <a:srgbClr val="FFD4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17">
              <a:extLst>
                <a:ext uri="{FF2B5EF4-FFF2-40B4-BE49-F238E27FC236}">
                  <a16:creationId xmlns:a16="http://schemas.microsoft.com/office/drawing/2014/main" id="{26812F30-9D7F-4B5D-B57C-1C5E0876FC04}"/>
                </a:ext>
              </a:extLst>
            </p:cNvPr>
            <p:cNvSpPr/>
            <p:nvPr/>
          </p:nvSpPr>
          <p:spPr>
            <a:xfrm>
              <a:off x="7101720" y="1800553"/>
              <a:ext cx="2518529" cy="1232690"/>
            </a:xfrm>
            <a:prstGeom prst="rect">
              <a:avLst/>
            </a:prstGeom>
            <a:blipFill>
              <a:blip r:embed="rId3" cstate="print"/>
              <a:stretch>
                <a:fillRect b="-69966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Rectangle 16">
            <a:extLst>
              <a:ext uri="{FF2B5EF4-FFF2-40B4-BE49-F238E27FC236}">
                <a16:creationId xmlns:a16="http://schemas.microsoft.com/office/drawing/2014/main" id="{A9B53497-8654-4765-BA7F-56326849F6BE}"/>
              </a:ext>
            </a:extLst>
          </p:cNvPr>
          <p:cNvSpPr/>
          <p:nvPr/>
        </p:nvSpPr>
        <p:spPr>
          <a:xfrm>
            <a:off x="8858050" y="1919576"/>
            <a:ext cx="2503205" cy="4937142"/>
          </a:xfrm>
          <a:prstGeom prst="rect">
            <a:avLst/>
          </a:prstGeom>
          <a:solidFill>
            <a:srgbClr val="262626">
              <a:alpha val="85098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sp>
        <p:nvSpPr>
          <p:cNvPr id="24" name="Textfeld 4">
            <a:extLst>
              <a:ext uri="{FF2B5EF4-FFF2-40B4-BE49-F238E27FC236}">
                <a16:creationId xmlns:a16="http://schemas.microsoft.com/office/drawing/2014/main" id="{548D1EAE-2C88-4B1F-915D-2D5670F0F0BB}"/>
              </a:ext>
            </a:extLst>
          </p:cNvPr>
          <p:cNvSpPr txBox="1"/>
          <p:nvPr/>
        </p:nvSpPr>
        <p:spPr bwMode="gray">
          <a:xfrm>
            <a:off x="9279502" y="2051433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4</a:t>
            </a:r>
          </a:p>
        </p:txBody>
      </p:sp>
      <p:sp>
        <p:nvSpPr>
          <p:cNvPr id="25" name="Rectangle 25">
            <a:extLst>
              <a:ext uri="{FF2B5EF4-FFF2-40B4-BE49-F238E27FC236}">
                <a16:creationId xmlns:a16="http://schemas.microsoft.com/office/drawing/2014/main" id="{F067BC78-5203-463A-A5C4-19ED3C5BAEE2}"/>
              </a:ext>
            </a:extLst>
          </p:cNvPr>
          <p:cNvSpPr>
            <a:spLocks/>
          </p:cNvSpPr>
          <p:nvPr/>
        </p:nvSpPr>
        <p:spPr>
          <a:xfrm>
            <a:off x="9131221" y="3631667"/>
            <a:ext cx="2176918" cy="527901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dirty="0">
                <a:solidFill>
                  <a:srgbClr val="FFE600"/>
                </a:solidFill>
                <a:latin typeface="EYInterstate"/>
              </a:rPr>
              <a:t>Conclusiones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41987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See the source image">
            <a:extLst>
              <a:ext uri="{FF2B5EF4-FFF2-40B4-BE49-F238E27FC236}">
                <a16:creationId xmlns:a16="http://schemas.microsoft.com/office/drawing/2014/main" id="{7C0DC400-0E04-4474-ABA6-4DC7B58F7B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 amt="8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30" y="-8942"/>
            <a:ext cx="12194130" cy="6857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7044C9CF-1A40-47DA-B909-7A9E8755898C}"/>
              </a:ext>
            </a:extLst>
          </p:cNvPr>
          <p:cNvGrpSpPr/>
          <p:nvPr/>
        </p:nvGrpSpPr>
        <p:grpSpPr>
          <a:xfrm>
            <a:off x="11537879" y="6256962"/>
            <a:ext cx="501722" cy="467700"/>
            <a:chOff x="7101720" y="656022"/>
            <a:chExt cx="2518529" cy="2377221"/>
          </a:xfrm>
        </p:grpSpPr>
        <p:sp>
          <p:nvSpPr>
            <p:cNvPr id="5" name="object 16">
              <a:extLst>
                <a:ext uri="{FF2B5EF4-FFF2-40B4-BE49-F238E27FC236}">
                  <a16:creationId xmlns:a16="http://schemas.microsoft.com/office/drawing/2014/main" id="{405B5886-698E-4A29-8421-1CEB0E780459}"/>
                </a:ext>
              </a:extLst>
            </p:cNvPr>
            <p:cNvSpPr/>
            <p:nvPr/>
          </p:nvSpPr>
          <p:spPr>
            <a:xfrm>
              <a:off x="7116290" y="656022"/>
              <a:ext cx="2018209" cy="809100"/>
            </a:xfrm>
            <a:custGeom>
              <a:avLst/>
              <a:gdLst/>
              <a:ahLst/>
              <a:cxnLst/>
              <a:rect l="l" t="t" r="r" b="b"/>
              <a:pathLst>
                <a:path w="784225" h="286384">
                  <a:moveTo>
                    <a:pt x="784021" y="0"/>
                  </a:moveTo>
                  <a:lnTo>
                    <a:pt x="0" y="286156"/>
                  </a:lnTo>
                  <a:lnTo>
                    <a:pt x="784021" y="147650"/>
                  </a:lnTo>
                  <a:lnTo>
                    <a:pt x="784021" y="0"/>
                  </a:lnTo>
                  <a:close/>
                </a:path>
              </a:pathLst>
            </a:custGeom>
            <a:solidFill>
              <a:srgbClr val="FFD4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17">
              <a:extLst>
                <a:ext uri="{FF2B5EF4-FFF2-40B4-BE49-F238E27FC236}">
                  <a16:creationId xmlns:a16="http://schemas.microsoft.com/office/drawing/2014/main" id="{DE6DC4D1-1EA6-4A69-B7BE-4E4C56C4376C}"/>
                </a:ext>
              </a:extLst>
            </p:cNvPr>
            <p:cNvSpPr/>
            <p:nvPr/>
          </p:nvSpPr>
          <p:spPr>
            <a:xfrm>
              <a:off x="7101720" y="1800553"/>
              <a:ext cx="2518529" cy="1232690"/>
            </a:xfrm>
            <a:prstGeom prst="rect">
              <a:avLst/>
            </a:prstGeom>
            <a:blipFill>
              <a:blip r:embed="rId4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 b="-69966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8" name="Rectangle 16">
            <a:extLst>
              <a:ext uri="{FF2B5EF4-FFF2-40B4-BE49-F238E27FC236}">
                <a16:creationId xmlns:a16="http://schemas.microsoft.com/office/drawing/2014/main" id="{14B6C1F4-472D-462E-AEA1-7B790717FCAE}"/>
              </a:ext>
            </a:extLst>
          </p:cNvPr>
          <p:cNvSpPr/>
          <p:nvPr/>
        </p:nvSpPr>
        <p:spPr>
          <a:xfrm>
            <a:off x="1798367" y="1314450"/>
            <a:ext cx="2503205" cy="4451350"/>
          </a:xfrm>
          <a:prstGeom prst="rect">
            <a:avLst/>
          </a:prstGeom>
          <a:solidFill>
            <a:srgbClr val="D9D9D9">
              <a:alpha val="94902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pic>
        <p:nvPicPr>
          <p:cNvPr id="42" name="Graphic 41" descr="Pin with solid fill">
            <a:extLst>
              <a:ext uri="{FF2B5EF4-FFF2-40B4-BE49-F238E27FC236}">
                <a16:creationId xmlns:a16="http://schemas.microsoft.com/office/drawing/2014/main" id="{C7634BA5-F802-41DB-9EC2-5AAD5F32870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26618" y="844549"/>
            <a:ext cx="695407" cy="695407"/>
          </a:xfrm>
          <a:prstGeom prst="rect">
            <a:avLst/>
          </a:prstGeom>
        </p:spPr>
      </p:pic>
      <p:sp>
        <p:nvSpPr>
          <p:cNvPr id="49" name="Rectangle 16">
            <a:extLst>
              <a:ext uri="{FF2B5EF4-FFF2-40B4-BE49-F238E27FC236}">
                <a16:creationId xmlns:a16="http://schemas.microsoft.com/office/drawing/2014/main" id="{C3FC3AC4-7E1D-413E-8F25-CDFAF0CCED9B}"/>
              </a:ext>
            </a:extLst>
          </p:cNvPr>
          <p:cNvSpPr/>
          <p:nvPr/>
        </p:nvSpPr>
        <p:spPr>
          <a:xfrm>
            <a:off x="4819537" y="1314450"/>
            <a:ext cx="2503205" cy="4451350"/>
          </a:xfrm>
          <a:prstGeom prst="rect">
            <a:avLst/>
          </a:prstGeom>
          <a:solidFill>
            <a:srgbClr val="D9D9D9">
              <a:alpha val="94902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pic>
        <p:nvPicPr>
          <p:cNvPr id="50" name="Graphic 49" descr="Pin with solid fill">
            <a:extLst>
              <a:ext uri="{FF2B5EF4-FFF2-40B4-BE49-F238E27FC236}">
                <a16:creationId xmlns:a16="http://schemas.microsoft.com/office/drawing/2014/main" id="{80DDB02F-12DD-4755-B458-78E5339535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47788" y="844549"/>
            <a:ext cx="695407" cy="695407"/>
          </a:xfrm>
          <a:prstGeom prst="rect">
            <a:avLst/>
          </a:prstGeom>
        </p:spPr>
      </p:pic>
      <p:sp>
        <p:nvSpPr>
          <p:cNvPr id="53" name="Rectangle 25">
            <a:extLst>
              <a:ext uri="{FF2B5EF4-FFF2-40B4-BE49-F238E27FC236}">
                <a16:creationId xmlns:a16="http://schemas.microsoft.com/office/drawing/2014/main" id="{9C4009C5-50F7-4E07-A39C-05CA8383B3FB}"/>
              </a:ext>
            </a:extLst>
          </p:cNvPr>
          <p:cNvSpPr>
            <a:spLocks/>
          </p:cNvSpPr>
          <p:nvPr/>
        </p:nvSpPr>
        <p:spPr>
          <a:xfrm>
            <a:off x="2067679" y="2176353"/>
            <a:ext cx="1964579" cy="3231719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dirty="0">
                <a:latin typeface="EYInterstate"/>
              </a:rPr>
              <a:t>El índice de criminalidad de un país se ve influenciado por factores socioeconómicos como la población, el PIB per cápita, la libertad de negocio, el coste de vida y  la presión fiscal, principalmente.</a:t>
            </a:r>
            <a:endParaRPr kumimoji="0" lang="es-E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54" name="Rectangle 25">
            <a:extLst>
              <a:ext uri="{FF2B5EF4-FFF2-40B4-BE49-F238E27FC236}">
                <a16:creationId xmlns:a16="http://schemas.microsoft.com/office/drawing/2014/main" id="{8403AD48-896D-4F61-B9FA-7800B6977150}"/>
              </a:ext>
            </a:extLst>
          </p:cNvPr>
          <p:cNvSpPr>
            <a:spLocks/>
          </p:cNvSpPr>
          <p:nvPr/>
        </p:nvSpPr>
        <p:spPr>
          <a:xfrm>
            <a:off x="5114554" y="2176353"/>
            <a:ext cx="2033794" cy="241918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dirty="0">
                <a:latin typeface="EYInterstate"/>
              </a:rPr>
              <a:t>Los países situados en el hemisferio sur son los que presentan mayor criminalidad, así como una peor situación económica (menor PIB per cápita).</a:t>
            </a:r>
            <a:endParaRPr kumimoji="0" lang="es-E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57" name="Rectangle 25">
            <a:extLst>
              <a:ext uri="{FF2B5EF4-FFF2-40B4-BE49-F238E27FC236}">
                <a16:creationId xmlns:a16="http://schemas.microsoft.com/office/drawing/2014/main" id="{2EBD57A9-F39E-451B-83D6-58DE196676B8}"/>
              </a:ext>
            </a:extLst>
          </p:cNvPr>
          <p:cNvSpPr>
            <a:spLocks/>
          </p:cNvSpPr>
          <p:nvPr/>
        </p:nvSpPr>
        <p:spPr>
          <a:xfrm>
            <a:off x="2805398" y="1553913"/>
            <a:ext cx="489139" cy="567976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3600" dirty="0">
                <a:latin typeface="EYInterstate"/>
              </a:rPr>
              <a:t>1</a:t>
            </a:r>
            <a:endParaRPr kumimoji="0" lang="es-ES" sz="3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58" name="Rectangle 25">
            <a:extLst>
              <a:ext uri="{FF2B5EF4-FFF2-40B4-BE49-F238E27FC236}">
                <a16:creationId xmlns:a16="http://schemas.microsoft.com/office/drawing/2014/main" id="{2F5B9E5C-89EE-4CEE-BEA8-553B13195530}"/>
              </a:ext>
            </a:extLst>
          </p:cNvPr>
          <p:cNvSpPr>
            <a:spLocks/>
          </p:cNvSpPr>
          <p:nvPr/>
        </p:nvSpPr>
        <p:spPr>
          <a:xfrm>
            <a:off x="5866590" y="1553913"/>
            <a:ext cx="489139" cy="567976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"/>
                <a:ea typeface="+mn-ea"/>
                <a:cs typeface="+mn-cs"/>
              </a:rPr>
              <a:t>2</a:t>
            </a:r>
            <a:endParaRPr kumimoji="0" lang="es-ES" sz="3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59" name="Rectangle 16">
            <a:extLst>
              <a:ext uri="{FF2B5EF4-FFF2-40B4-BE49-F238E27FC236}">
                <a16:creationId xmlns:a16="http://schemas.microsoft.com/office/drawing/2014/main" id="{241E298A-4D4F-4F3C-BE3E-B2AAF0469C2E}"/>
              </a:ext>
            </a:extLst>
          </p:cNvPr>
          <p:cNvSpPr/>
          <p:nvPr/>
        </p:nvSpPr>
        <p:spPr>
          <a:xfrm>
            <a:off x="7840707" y="1314450"/>
            <a:ext cx="2503205" cy="4451350"/>
          </a:xfrm>
          <a:prstGeom prst="rect">
            <a:avLst/>
          </a:prstGeom>
          <a:solidFill>
            <a:srgbClr val="D9D9D9">
              <a:alpha val="94902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pic>
        <p:nvPicPr>
          <p:cNvPr id="60" name="Graphic 59" descr="Pin with solid fill">
            <a:extLst>
              <a:ext uri="{FF2B5EF4-FFF2-40B4-BE49-F238E27FC236}">
                <a16:creationId xmlns:a16="http://schemas.microsoft.com/office/drawing/2014/main" id="{FEA319D5-7113-4F05-B941-AED38019B17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68958" y="844549"/>
            <a:ext cx="695407" cy="695407"/>
          </a:xfrm>
          <a:prstGeom prst="rect">
            <a:avLst/>
          </a:prstGeom>
        </p:spPr>
      </p:pic>
      <p:sp>
        <p:nvSpPr>
          <p:cNvPr id="61" name="Rectangle 25">
            <a:extLst>
              <a:ext uri="{FF2B5EF4-FFF2-40B4-BE49-F238E27FC236}">
                <a16:creationId xmlns:a16="http://schemas.microsoft.com/office/drawing/2014/main" id="{627A790F-2BEC-48AE-9471-3BCC21F37F1F}"/>
              </a:ext>
            </a:extLst>
          </p:cNvPr>
          <p:cNvSpPr>
            <a:spLocks/>
          </p:cNvSpPr>
          <p:nvPr/>
        </p:nvSpPr>
        <p:spPr>
          <a:xfrm>
            <a:off x="8135724" y="2176353"/>
            <a:ext cx="2033794" cy="2960875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dirty="0">
                <a:latin typeface="EYInterstate"/>
              </a:rPr>
              <a:t>Europa es el continente con el índice de criminalidad medio más bajo. Resulta interesante que los países con mayor PIB per cápita y mayor presión fiscal se encuentran en dicho continente.</a:t>
            </a:r>
            <a:endParaRPr kumimoji="0" lang="es-E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62" name="Rectangle 25">
            <a:extLst>
              <a:ext uri="{FF2B5EF4-FFF2-40B4-BE49-F238E27FC236}">
                <a16:creationId xmlns:a16="http://schemas.microsoft.com/office/drawing/2014/main" id="{55F371DA-707B-4BCE-931B-269DCEA9E688}"/>
              </a:ext>
            </a:extLst>
          </p:cNvPr>
          <p:cNvSpPr>
            <a:spLocks/>
          </p:cNvSpPr>
          <p:nvPr/>
        </p:nvSpPr>
        <p:spPr>
          <a:xfrm>
            <a:off x="8887760" y="1553913"/>
            <a:ext cx="489139" cy="567976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3600" dirty="0">
                <a:latin typeface="EYInterstate"/>
              </a:rPr>
              <a:t>3</a:t>
            </a:r>
            <a:endParaRPr kumimoji="0" lang="es-ES" sz="3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04447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See the source image">
            <a:extLst>
              <a:ext uri="{FF2B5EF4-FFF2-40B4-BE49-F238E27FC236}">
                <a16:creationId xmlns:a16="http://schemas.microsoft.com/office/drawing/2014/main" id="{5A9A9068-B1C2-42A0-8C3C-4387D15B5E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 amt="8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9" name="Group 48">
            <a:extLst>
              <a:ext uri="{FF2B5EF4-FFF2-40B4-BE49-F238E27FC236}">
                <a16:creationId xmlns:a16="http://schemas.microsoft.com/office/drawing/2014/main" id="{97F66A72-A0D3-4F6F-843A-2800C76E39AA}"/>
              </a:ext>
            </a:extLst>
          </p:cNvPr>
          <p:cNvGrpSpPr/>
          <p:nvPr/>
        </p:nvGrpSpPr>
        <p:grpSpPr>
          <a:xfrm>
            <a:off x="11537879" y="6256962"/>
            <a:ext cx="501722" cy="467700"/>
            <a:chOff x="7101720" y="656022"/>
            <a:chExt cx="2518529" cy="2377221"/>
          </a:xfrm>
        </p:grpSpPr>
        <p:sp>
          <p:nvSpPr>
            <p:cNvPr id="50" name="object 16">
              <a:extLst>
                <a:ext uri="{FF2B5EF4-FFF2-40B4-BE49-F238E27FC236}">
                  <a16:creationId xmlns:a16="http://schemas.microsoft.com/office/drawing/2014/main" id="{AE670510-0885-4479-B5AC-69175E22DD70}"/>
                </a:ext>
              </a:extLst>
            </p:cNvPr>
            <p:cNvSpPr/>
            <p:nvPr/>
          </p:nvSpPr>
          <p:spPr>
            <a:xfrm>
              <a:off x="7116290" y="656022"/>
              <a:ext cx="2018209" cy="809100"/>
            </a:xfrm>
            <a:custGeom>
              <a:avLst/>
              <a:gdLst/>
              <a:ahLst/>
              <a:cxnLst/>
              <a:rect l="l" t="t" r="r" b="b"/>
              <a:pathLst>
                <a:path w="784225" h="286384">
                  <a:moveTo>
                    <a:pt x="784021" y="0"/>
                  </a:moveTo>
                  <a:lnTo>
                    <a:pt x="0" y="286156"/>
                  </a:lnTo>
                  <a:lnTo>
                    <a:pt x="784021" y="147650"/>
                  </a:lnTo>
                  <a:lnTo>
                    <a:pt x="784021" y="0"/>
                  </a:lnTo>
                  <a:close/>
                </a:path>
              </a:pathLst>
            </a:custGeom>
            <a:solidFill>
              <a:srgbClr val="FFD4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17">
              <a:extLst>
                <a:ext uri="{FF2B5EF4-FFF2-40B4-BE49-F238E27FC236}">
                  <a16:creationId xmlns:a16="http://schemas.microsoft.com/office/drawing/2014/main" id="{349FC039-DDED-40AC-A81E-11CE7C4EB632}"/>
                </a:ext>
              </a:extLst>
            </p:cNvPr>
            <p:cNvSpPr/>
            <p:nvPr/>
          </p:nvSpPr>
          <p:spPr>
            <a:xfrm>
              <a:off x="7101720" y="1800553"/>
              <a:ext cx="2518529" cy="1232690"/>
            </a:xfrm>
            <a:prstGeom prst="rect">
              <a:avLst/>
            </a:prstGeom>
            <a:blipFill>
              <a:blip r:embed="rId4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 b="-69966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Rechteck 1">
            <a:extLst>
              <a:ext uri="{FF2B5EF4-FFF2-40B4-BE49-F238E27FC236}">
                <a16:creationId xmlns:a16="http://schemas.microsoft.com/office/drawing/2014/main" id="{BEF415E1-EFA3-41D3-9061-EE26A5B10EFF}"/>
              </a:ext>
            </a:extLst>
          </p:cNvPr>
          <p:cNvSpPr/>
          <p:nvPr/>
        </p:nvSpPr>
        <p:spPr>
          <a:xfrm>
            <a:off x="0" y="0"/>
            <a:ext cx="5178176" cy="6858000"/>
          </a:xfrm>
          <a:prstGeom prst="rect">
            <a:avLst/>
          </a:prstGeom>
          <a:solidFill>
            <a:schemeClr val="tx1">
              <a:lumMod val="95000"/>
              <a:lumOff val="5000"/>
              <a:alpha val="86000"/>
            </a:schemeClr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kern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39F43CA2-6EF0-4E0C-A8EA-32C5D9A3184B}"/>
              </a:ext>
            </a:extLst>
          </p:cNvPr>
          <p:cNvSpPr txBox="1">
            <a:spLocks noChangeArrowheads="1"/>
          </p:cNvSpPr>
          <p:nvPr/>
        </p:nvSpPr>
        <p:spPr>
          <a:xfrm>
            <a:off x="601501" y="829625"/>
            <a:ext cx="4237626" cy="151405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1200"/>
              </a:spcBef>
            </a:pPr>
            <a:endParaRPr lang="es-ES" sz="2000" b="1" i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82E21FF-FAF1-4A3E-BE57-045B9763FF61}"/>
              </a:ext>
            </a:extLst>
          </p:cNvPr>
          <p:cNvSpPr txBox="1">
            <a:spLocks/>
          </p:cNvSpPr>
          <p:nvPr/>
        </p:nvSpPr>
        <p:spPr>
          <a:xfrm>
            <a:off x="619125" y="765253"/>
            <a:ext cx="3205138" cy="221599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EY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/>
              </a:rPr>
              <a:t>| </a:t>
            </a:r>
            <a:r>
              <a: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/>
              </a:rPr>
              <a:t>Building a better working world</a:t>
            </a:r>
            <a:endParaRPr kumimoji="0" lang="en-IN" sz="11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6B9600B-CA4E-4336-8A60-6CECFF014448}"/>
              </a:ext>
            </a:extLst>
          </p:cNvPr>
          <p:cNvSpPr txBox="1">
            <a:spLocks/>
          </p:cNvSpPr>
          <p:nvPr/>
        </p:nvSpPr>
        <p:spPr>
          <a:xfrm>
            <a:off x="619125" y="1159853"/>
            <a:ext cx="3205138" cy="2237536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EY exists to build a better working world, helping create long-term value for clients, people and society and build trust in the capital marke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Enabled by data and technology, diverse EY teams in over 150 countries provide trust through assurance and help clients grow, transform and operat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Working across assurance, consulting, law, strategy, tax and transactions, EY teams ask better questions to find new answers for the complex issues facing our world today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BBD5BEC-CA27-4A8A-B662-4DBC63C97DE7}"/>
              </a:ext>
            </a:extLst>
          </p:cNvPr>
          <p:cNvSpPr txBox="1"/>
          <p:nvPr/>
        </p:nvSpPr>
        <p:spPr>
          <a:xfrm>
            <a:off x="629491" y="3739561"/>
            <a:ext cx="3919193" cy="2406813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US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EY refers to the global organization, and may refer to one or more, of the member firms of Ernst &amp; Young Global Limited, each of which is a separate legal entity. Ernst &amp; Young Global Limited, a UK company limited by guarantee, does not provide services to clients. Information about how EY collects and uses personal data and a description of the rights individuals have under data protection legislation are available via ey.com/privacy. EY member firms do not practice law where prohibited by local laws. For more information about our organization, please visit ey.com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IN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© 2022 EYGM.</a:t>
            </a:r>
            <a:br>
              <a:rPr kumimoji="0" lang="en-IN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</a:br>
            <a:r>
              <a:rPr kumimoji="0" lang="en-IN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All Rights Reserve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en-IN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IN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2110-3894377</a:t>
            </a:r>
            <a:br>
              <a:rPr kumimoji="0" lang="en-IN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</a:br>
            <a:r>
              <a:rPr kumimoji="0" lang="en-IN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ED No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en-IN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IN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s material has been prepared for </a:t>
            </a:r>
            <a:r>
              <a:rPr kumimoji="0" lang="en-IN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general informational purposes only and is not intended to be relied upon as accounting, tax, legal or other professional advice. Please refer to your advisors for specific advic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en-IN" sz="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ey.com</a:t>
            </a:r>
          </a:p>
        </p:txBody>
      </p:sp>
    </p:spTree>
    <p:extLst>
      <p:ext uri="{BB962C8B-B14F-4D97-AF65-F5344CB8AC3E}">
        <p14:creationId xmlns:p14="http://schemas.microsoft.com/office/powerpoint/2010/main" val="17791948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See the source image">
            <a:extLst>
              <a:ext uri="{FF2B5EF4-FFF2-40B4-BE49-F238E27FC236}">
                <a16:creationId xmlns:a16="http://schemas.microsoft.com/office/drawing/2014/main" id="{DB37842D-4A7A-417A-AE55-627651A4A5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548" y="-3674"/>
            <a:ext cx="12205548" cy="6865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el 8">
            <a:extLst>
              <a:ext uri="{FF2B5EF4-FFF2-40B4-BE49-F238E27FC236}">
                <a16:creationId xmlns:a16="http://schemas.microsoft.com/office/drawing/2014/main" id="{42434769-5392-4D86-BD76-5C8CAC333A2C}"/>
              </a:ext>
            </a:extLst>
          </p:cNvPr>
          <p:cNvSpPr txBox="1">
            <a:spLocks/>
          </p:cNvSpPr>
          <p:nvPr/>
        </p:nvSpPr>
        <p:spPr>
          <a:xfrm>
            <a:off x="673418" y="294200"/>
            <a:ext cx="10978515" cy="590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/>
              <a:t>Agend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92F88FF-5AE0-4004-98F9-FEBEF5809D29}"/>
              </a:ext>
            </a:extLst>
          </p:cNvPr>
          <p:cNvCxnSpPr>
            <a:cxnSpLocks/>
          </p:cNvCxnSpPr>
          <p:nvPr/>
        </p:nvCxnSpPr>
        <p:spPr>
          <a:xfrm>
            <a:off x="714514" y="884600"/>
            <a:ext cx="1617720" cy="0"/>
          </a:xfrm>
          <a:prstGeom prst="line">
            <a:avLst/>
          </a:prstGeom>
          <a:ln w="38100">
            <a:solidFill>
              <a:srgbClr val="FCF6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6">
            <a:extLst>
              <a:ext uri="{FF2B5EF4-FFF2-40B4-BE49-F238E27FC236}">
                <a16:creationId xmlns:a16="http://schemas.microsoft.com/office/drawing/2014/main" id="{BE820A95-F062-4388-A79B-48F266E805A4}"/>
              </a:ext>
            </a:extLst>
          </p:cNvPr>
          <p:cNvSpPr/>
          <p:nvPr/>
        </p:nvSpPr>
        <p:spPr>
          <a:xfrm>
            <a:off x="3299953" y="1920858"/>
            <a:ext cx="2503205" cy="4937142"/>
          </a:xfrm>
          <a:prstGeom prst="rect">
            <a:avLst/>
          </a:prstGeom>
          <a:solidFill>
            <a:schemeClr val="tx1">
              <a:lumMod val="85000"/>
              <a:lumOff val="15000"/>
              <a:alpha val="6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12" name="Rectangle 16">
            <a:extLst>
              <a:ext uri="{FF2B5EF4-FFF2-40B4-BE49-F238E27FC236}">
                <a16:creationId xmlns:a16="http://schemas.microsoft.com/office/drawing/2014/main" id="{069E4ECC-4B02-4736-82ED-7F2CFDE2C8EC}"/>
              </a:ext>
            </a:extLst>
          </p:cNvPr>
          <p:cNvSpPr/>
          <p:nvPr/>
        </p:nvSpPr>
        <p:spPr>
          <a:xfrm>
            <a:off x="6098073" y="1920858"/>
            <a:ext cx="2503205" cy="4937142"/>
          </a:xfrm>
          <a:prstGeom prst="rect">
            <a:avLst/>
          </a:prstGeom>
          <a:solidFill>
            <a:schemeClr val="tx1">
              <a:lumMod val="85000"/>
              <a:lumOff val="15000"/>
              <a:alpha val="6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13" name="Rectangle 16">
            <a:extLst>
              <a:ext uri="{FF2B5EF4-FFF2-40B4-BE49-F238E27FC236}">
                <a16:creationId xmlns:a16="http://schemas.microsoft.com/office/drawing/2014/main" id="{D78DF02B-BDC7-43AA-90A7-9181AFACBB99}"/>
              </a:ext>
            </a:extLst>
          </p:cNvPr>
          <p:cNvSpPr/>
          <p:nvPr/>
        </p:nvSpPr>
        <p:spPr>
          <a:xfrm>
            <a:off x="498849" y="1920858"/>
            <a:ext cx="2503205" cy="4937142"/>
          </a:xfrm>
          <a:prstGeom prst="rect">
            <a:avLst/>
          </a:prstGeom>
          <a:solidFill>
            <a:schemeClr val="tx1">
              <a:lumMod val="85000"/>
              <a:lumOff val="15000"/>
              <a:alpha val="6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sp>
        <p:nvSpPr>
          <p:cNvPr id="14" name="Textfeld 4">
            <a:extLst>
              <a:ext uri="{FF2B5EF4-FFF2-40B4-BE49-F238E27FC236}">
                <a16:creationId xmlns:a16="http://schemas.microsoft.com/office/drawing/2014/main" id="{9194B14F-EB6D-485A-ABC7-46A8A20FD06C}"/>
              </a:ext>
            </a:extLst>
          </p:cNvPr>
          <p:cNvSpPr txBox="1"/>
          <p:nvPr/>
        </p:nvSpPr>
        <p:spPr bwMode="gray">
          <a:xfrm>
            <a:off x="3653610" y="2052715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2</a:t>
            </a:r>
          </a:p>
        </p:txBody>
      </p:sp>
      <p:sp>
        <p:nvSpPr>
          <p:cNvPr id="15" name="Textfeld 4">
            <a:extLst>
              <a:ext uri="{FF2B5EF4-FFF2-40B4-BE49-F238E27FC236}">
                <a16:creationId xmlns:a16="http://schemas.microsoft.com/office/drawing/2014/main" id="{4ABDBE3C-76DA-4FC2-91E0-A28BDA73D8C2}"/>
              </a:ext>
            </a:extLst>
          </p:cNvPr>
          <p:cNvSpPr txBox="1"/>
          <p:nvPr/>
        </p:nvSpPr>
        <p:spPr bwMode="gray">
          <a:xfrm>
            <a:off x="6519525" y="2052715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3</a:t>
            </a:r>
          </a:p>
        </p:txBody>
      </p:sp>
      <p:sp>
        <p:nvSpPr>
          <p:cNvPr id="16" name="Textfeld 4">
            <a:extLst>
              <a:ext uri="{FF2B5EF4-FFF2-40B4-BE49-F238E27FC236}">
                <a16:creationId xmlns:a16="http://schemas.microsoft.com/office/drawing/2014/main" id="{C61A20B8-DABD-4DE0-9C63-E6E0343D8A7F}"/>
              </a:ext>
            </a:extLst>
          </p:cNvPr>
          <p:cNvSpPr txBox="1"/>
          <p:nvPr/>
        </p:nvSpPr>
        <p:spPr bwMode="gray">
          <a:xfrm>
            <a:off x="749887" y="2052715"/>
            <a:ext cx="606626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</a:t>
            </a:r>
            <a:endParaRPr kumimoji="0" lang="en-US" sz="8000" b="0" i="0" u="none" strike="noStrike" kern="0" cap="none" spc="0" normalizeH="0" baseline="0" noProof="0" dirty="0">
              <a:ln w="12700">
                <a:noFill/>
              </a:ln>
              <a:solidFill>
                <a:prstClr val="white">
                  <a:alpha val="70000"/>
                </a:prstClr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7" name="Rectangle 25">
            <a:extLst>
              <a:ext uri="{FF2B5EF4-FFF2-40B4-BE49-F238E27FC236}">
                <a16:creationId xmlns:a16="http://schemas.microsoft.com/office/drawing/2014/main" id="{247A2BC3-B3FC-4822-B443-19FC609F37E3}"/>
              </a:ext>
            </a:extLst>
          </p:cNvPr>
          <p:cNvSpPr>
            <a:spLocks/>
          </p:cNvSpPr>
          <p:nvPr/>
        </p:nvSpPr>
        <p:spPr>
          <a:xfrm>
            <a:off x="883861" y="3652239"/>
            <a:ext cx="1822620" cy="527901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Introducción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8" name="Rectangle 25">
            <a:extLst>
              <a:ext uri="{FF2B5EF4-FFF2-40B4-BE49-F238E27FC236}">
                <a16:creationId xmlns:a16="http://schemas.microsoft.com/office/drawing/2014/main" id="{EA57CDEB-A4F1-4FB1-89F5-5BADFE5D8788}"/>
              </a:ext>
            </a:extLst>
          </p:cNvPr>
          <p:cNvSpPr>
            <a:spLocks/>
          </p:cNvSpPr>
          <p:nvPr/>
        </p:nvSpPr>
        <p:spPr>
          <a:xfrm>
            <a:off x="3623182" y="3652239"/>
            <a:ext cx="1932432" cy="866456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dirty="0">
                <a:solidFill>
                  <a:srgbClr val="FFE600"/>
                </a:solidFill>
                <a:latin typeface="EYInterstate"/>
              </a:rPr>
              <a:t>Estudio de Datos y Modelo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9" name="Rectangle 25">
            <a:extLst>
              <a:ext uri="{FF2B5EF4-FFF2-40B4-BE49-F238E27FC236}">
                <a16:creationId xmlns:a16="http://schemas.microsoft.com/office/drawing/2014/main" id="{75CF3A2A-D467-47B7-835B-E44233823F31}"/>
              </a:ext>
            </a:extLst>
          </p:cNvPr>
          <p:cNvSpPr>
            <a:spLocks/>
          </p:cNvSpPr>
          <p:nvPr/>
        </p:nvSpPr>
        <p:spPr>
          <a:xfrm>
            <a:off x="6483084" y="3652239"/>
            <a:ext cx="1967551" cy="866456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Visualización de Datos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CE49DD9-4EDE-4143-9621-EBC49580BAEE}"/>
              </a:ext>
            </a:extLst>
          </p:cNvPr>
          <p:cNvGrpSpPr/>
          <p:nvPr/>
        </p:nvGrpSpPr>
        <p:grpSpPr>
          <a:xfrm>
            <a:off x="11537879" y="6256962"/>
            <a:ext cx="501722" cy="467700"/>
            <a:chOff x="7101720" y="656022"/>
            <a:chExt cx="2518529" cy="2377221"/>
          </a:xfrm>
        </p:grpSpPr>
        <p:sp>
          <p:nvSpPr>
            <p:cNvPr id="21" name="object 16">
              <a:extLst>
                <a:ext uri="{FF2B5EF4-FFF2-40B4-BE49-F238E27FC236}">
                  <a16:creationId xmlns:a16="http://schemas.microsoft.com/office/drawing/2014/main" id="{29A12E78-FB47-482F-80E0-D6B92807EF76}"/>
                </a:ext>
              </a:extLst>
            </p:cNvPr>
            <p:cNvSpPr/>
            <p:nvPr/>
          </p:nvSpPr>
          <p:spPr>
            <a:xfrm>
              <a:off x="7116290" y="656022"/>
              <a:ext cx="2018209" cy="809100"/>
            </a:xfrm>
            <a:custGeom>
              <a:avLst/>
              <a:gdLst/>
              <a:ahLst/>
              <a:cxnLst/>
              <a:rect l="l" t="t" r="r" b="b"/>
              <a:pathLst>
                <a:path w="784225" h="286384">
                  <a:moveTo>
                    <a:pt x="784021" y="0"/>
                  </a:moveTo>
                  <a:lnTo>
                    <a:pt x="0" y="286156"/>
                  </a:lnTo>
                  <a:lnTo>
                    <a:pt x="784021" y="147650"/>
                  </a:lnTo>
                  <a:lnTo>
                    <a:pt x="784021" y="0"/>
                  </a:lnTo>
                  <a:close/>
                </a:path>
              </a:pathLst>
            </a:custGeom>
            <a:solidFill>
              <a:srgbClr val="FFD4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17">
              <a:extLst>
                <a:ext uri="{FF2B5EF4-FFF2-40B4-BE49-F238E27FC236}">
                  <a16:creationId xmlns:a16="http://schemas.microsoft.com/office/drawing/2014/main" id="{26812F30-9D7F-4B5D-B57C-1C5E0876FC04}"/>
                </a:ext>
              </a:extLst>
            </p:cNvPr>
            <p:cNvSpPr/>
            <p:nvPr/>
          </p:nvSpPr>
          <p:spPr>
            <a:xfrm>
              <a:off x="7101720" y="1800553"/>
              <a:ext cx="2518529" cy="1232690"/>
            </a:xfrm>
            <a:prstGeom prst="rect">
              <a:avLst/>
            </a:prstGeom>
            <a:blipFill>
              <a:blip r:embed="rId4" cstate="print"/>
              <a:stretch>
                <a:fillRect b="-69966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Rectangle 16">
            <a:extLst>
              <a:ext uri="{FF2B5EF4-FFF2-40B4-BE49-F238E27FC236}">
                <a16:creationId xmlns:a16="http://schemas.microsoft.com/office/drawing/2014/main" id="{A9B53497-8654-4765-BA7F-56326849F6BE}"/>
              </a:ext>
            </a:extLst>
          </p:cNvPr>
          <p:cNvSpPr/>
          <p:nvPr/>
        </p:nvSpPr>
        <p:spPr>
          <a:xfrm>
            <a:off x="8858050" y="1919576"/>
            <a:ext cx="2503205" cy="4937142"/>
          </a:xfrm>
          <a:prstGeom prst="rect">
            <a:avLst/>
          </a:prstGeom>
          <a:solidFill>
            <a:schemeClr val="tx1">
              <a:lumMod val="85000"/>
              <a:lumOff val="15000"/>
              <a:alpha val="6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24" name="Textfeld 4">
            <a:extLst>
              <a:ext uri="{FF2B5EF4-FFF2-40B4-BE49-F238E27FC236}">
                <a16:creationId xmlns:a16="http://schemas.microsoft.com/office/drawing/2014/main" id="{548D1EAE-2C88-4B1F-915D-2D5670F0F0BB}"/>
              </a:ext>
            </a:extLst>
          </p:cNvPr>
          <p:cNvSpPr txBox="1"/>
          <p:nvPr/>
        </p:nvSpPr>
        <p:spPr bwMode="gray">
          <a:xfrm>
            <a:off x="9279502" y="2051433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4</a:t>
            </a:r>
          </a:p>
        </p:txBody>
      </p:sp>
      <p:sp>
        <p:nvSpPr>
          <p:cNvPr id="25" name="Rectangle 25">
            <a:extLst>
              <a:ext uri="{FF2B5EF4-FFF2-40B4-BE49-F238E27FC236}">
                <a16:creationId xmlns:a16="http://schemas.microsoft.com/office/drawing/2014/main" id="{F067BC78-5203-463A-A5C4-19ED3C5BAEE2}"/>
              </a:ext>
            </a:extLst>
          </p:cNvPr>
          <p:cNvSpPr>
            <a:spLocks/>
          </p:cNvSpPr>
          <p:nvPr/>
        </p:nvSpPr>
        <p:spPr>
          <a:xfrm>
            <a:off x="9131221" y="3631667"/>
            <a:ext cx="2176918" cy="527901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dirty="0">
                <a:solidFill>
                  <a:srgbClr val="FFE600"/>
                </a:solidFill>
                <a:latin typeface="EYInterstate"/>
              </a:rPr>
              <a:t>Conclusiones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20924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See the source image">
            <a:extLst>
              <a:ext uri="{FF2B5EF4-FFF2-40B4-BE49-F238E27FC236}">
                <a16:creationId xmlns:a16="http://schemas.microsoft.com/office/drawing/2014/main" id="{DB37842D-4A7A-417A-AE55-627651A4A5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548" y="-3674"/>
            <a:ext cx="12205548" cy="6865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el 8">
            <a:extLst>
              <a:ext uri="{FF2B5EF4-FFF2-40B4-BE49-F238E27FC236}">
                <a16:creationId xmlns:a16="http://schemas.microsoft.com/office/drawing/2014/main" id="{42434769-5392-4D86-BD76-5C8CAC333A2C}"/>
              </a:ext>
            </a:extLst>
          </p:cNvPr>
          <p:cNvSpPr txBox="1">
            <a:spLocks/>
          </p:cNvSpPr>
          <p:nvPr/>
        </p:nvSpPr>
        <p:spPr>
          <a:xfrm>
            <a:off x="673418" y="294200"/>
            <a:ext cx="10978515" cy="590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defPPr>
              <a:defRPr lang="es-E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4400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gend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92F88FF-5AE0-4004-98F9-FEBEF5809D29}"/>
              </a:ext>
            </a:extLst>
          </p:cNvPr>
          <p:cNvCxnSpPr>
            <a:cxnSpLocks/>
          </p:cNvCxnSpPr>
          <p:nvPr/>
        </p:nvCxnSpPr>
        <p:spPr>
          <a:xfrm>
            <a:off x="714514" y="884600"/>
            <a:ext cx="1617720" cy="0"/>
          </a:xfrm>
          <a:prstGeom prst="line">
            <a:avLst/>
          </a:prstGeom>
          <a:ln w="38100">
            <a:solidFill>
              <a:srgbClr val="FCF6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6">
            <a:extLst>
              <a:ext uri="{FF2B5EF4-FFF2-40B4-BE49-F238E27FC236}">
                <a16:creationId xmlns:a16="http://schemas.microsoft.com/office/drawing/2014/main" id="{BE820A95-F062-4388-A79B-48F266E805A4}"/>
              </a:ext>
            </a:extLst>
          </p:cNvPr>
          <p:cNvSpPr/>
          <p:nvPr/>
        </p:nvSpPr>
        <p:spPr>
          <a:xfrm>
            <a:off x="3299953" y="1920858"/>
            <a:ext cx="2503205" cy="4937142"/>
          </a:xfrm>
          <a:prstGeom prst="rect">
            <a:avLst/>
          </a:prstGeom>
          <a:solidFill>
            <a:schemeClr val="tx1">
              <a:lumMod val="85000"/>
              <a:lumOff val="15000"/>
              <a:alpha val="6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12" name="Rectangle 16">
            <a:extLst>
              <a:ext uri="{FF2B5EF4-FFF2-40B4-BE49-F238E27FC236}">
                <a16:creationId xmlns:a16="http://schemas.microsoft.com/office/drawing/2014/main" id="{069E4ECC-4B02-4736-82ED-7F2CFDE2C8EC}"/>
              </a:ext>
            </a:extLst>
          </p:cNvPr>
          <p:cNvSpPr/>
          <p:nvPr/>
        </p:nvSpPr>
        <p:spPr>
          <a:xfrm>
            <a:off x="6098073" y="1920858"/>
            <a:ext cx="2503205" cy="4937142"/>
          </a:xfrm>
          <a:prstGeom prst="rect">
            <a:avLst/>
          </a:prstGeom>
          <a:solidFill>
            <a:schemeClr val="tx1">
              <a:lumMod val="85000"/>
              <a:lumOff val="15000"/>
              <a:alpha val="6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13" name="Rectangle 16">
            <a:extLst>
              <a:ext uri="{FF2B5EF4-FFF2-40B4-BE49-F238E27FC236}">
                <a16:creationId xmlns:a16="http://schemas.microsoft.com/office/drawing/2014/main" id="{D78DF02B-BDC7-43AA-90A7-9181AFACBB99}"/>
              </a:ext>
            </a:extLst>
          </p:cNvPr>
          <p:cNvSpPr/>
          <p:nvPr/>
        </p:nvSpPr>
        <p:spPr>
          <a:xfrm>
            <a:off x="498849" y="1920858"/>
            <a:ext cx="2503205" cy="4937142"/>
          </a:xfrm>
          <a:prstGeom prst="rect">
            <a:avLst/>
          </a:prstGeom>
          <a:solidFill>
            <a:srgbClr val="262626">
              <a:alpha val="85098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14" name="Textfeld 4">
            <a:extLst>
              <a:ext uri="{FF2B5EF4-FFF2-40B4-BE49-F238E27FC236}">
                <a16:creationId xmlns:a16="http://schemas.microsoft.com/office/drawing/2014/main" id="{9194B14F-EB6D-485A-ABC7-46A8A20FD06C}"/>
              </a:ext>
            </a:extLst>
          </p:cNvPr>
          <p:cNvSpPr txBox="1"/>
          <p:nvPr/>
        </p:nvSpPr>
        <p:spPr bwMode="gray">
          <a:xfrm>
            <a:off x="3653610" y="2052715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2</a:t>
            </a:r>
          </a:p>
        </p:txBody>
      </p:sp>
      <p:sp>
        <p:nvSpPr>
          <p:cNvPr id="15" name="Textfeld 4">
            <a:extLst>
              <a:ext uri="{FF2B5EF4-FFF2-40B4-BE49-F238E27FC236}">
                <a16:creationId xmlns:a16="http://schemas.microsoft.com/office/drawing/2014/main" id="{4ABDBE3C-76DA-4FC2-91E0-A28BDA73D8C2}"/>
              </a:ext>
            </a:extLst>
          </p:cNvPr>
          <p:cNvSpPr txBox="1"/>
          <p:nvPr/>
        </p:nvSpPr>
        <p:spPr bwMode="gray">
          <a:xfrm>
            <a:off x="6519525" y="2052715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3</a:t>
            </a:r>
          </a:p>
        </p:txBody>
      </p:sp>
      <p:sp>
        <p:nvSpPr>
          <p:cNvPr id="16" name="Textfeld 4">
            <a:extLst>
              <a:ext uri="{FF2B5EF4-FFF2-40B4-BE49-F238E27FC236}">
                <a16:creationId xmlns:a16="http://schemas.microsoft.com/office/drawing/2014/main" id="{C61A20B8-DABD-4DE0-9C63-E6E0343D8A7F}"/>
              </a:ext>
            </a:extLst>
          </p:cNvPr>
          <p:cNvSpPr txBox="1"/>
          <p:nvPr/>
        </p:nvSpPr>
        <p:spPr bwMode="gray">
          <a:xfrm>
            <a:off x="749887" y="2052715"/>
            <a:ext cx="606626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</a:t>
            </a:r>
            <a:endParaRPr kumimoji="0" lang="en-US" sz="8000" b="0" i="0" u="none" strike="noStrike" kern="0" cap="none" spc="0" normalizeH="0" baseline="0" noProof="0" dirty="0">
              <a:ln w="12700">
                <a:noFill/>
              </a:ln>
              <a:solidFill>
                <a:prstClr val="white">
                  <a:alpha val="70000"/>
                </a:prstClr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7" name="Rectangle 25">
            <a:extLst>
              <a:ext uri="{FF2B5EF4-FFF2-40B4-BE49-F238E27FC236}">
                <a16:creationId xmlns:a16="http://schemas.microsoft.com/office/drawing/2014/main" id="{247A2BC3-B3FC-4822-B443-19FC609F37E3}"/>
              </a:ext>
            </a:extLst>
          </p:cNvPr>
          <p:cNvSpPr>
            <a:spLocks/>
          </p:cNvSpPr>
          <p:nvPr/>
        </p:nvSpPr>
        <p:spPr>
          <a:xfrm>
            <a:off x="883861" y="3652239"/>
            <a:ext cx="1822620" cy="527901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Introducción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8" name="Rectangle 25">
            <a:extLst>
              <a:ext uri="{FF2B5EF4-FFF2-40B4-BE49-F238E27FC236}">
                <a16:creationId xmlns:a16="http://schemas.microsoft.com/office/drawing/2014/main" id="{EA57CDEB-A4F1-4FB1-89F5-5BADFE5D8788}"/>
              </a:ext>
            </a:extLst>
          </p:cNvPr>
          <p:cNvSpPr>
            <a:spLocks/>
          </p:cNvSpPr>
          <p:nvPr/>
        </p:nvSpPr>
        <p:spPr>
          <a:xfrm>
            <a:off x="3623182" y="3652239"/>
            <a:ext cx="1932432" cy="866456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dirty="0">
                <a:solidFill>
                  <a:srgbClr val="FFE600"/>
                </a:solidFill>
                <a:latin typeface="EYInterstate"/>
              </a:rPr>
              <a:t>Estudio de Datos y Modelo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9" name="Rectangle 25">
            <a:extLst>
              <a:ext uri="{FF2B5EF4-FFF2-40B4-BE49-F238E27FC236}">
                <a16:creationId xmlns:a16="http://schemas.microsoft.com/office/drawing/2014/main" id="{75CF3A2A-D467-47B7-835B-E44233823F31}"/>
              </a:ext>
            </a:extLst>
          </p:cNvPr>
          <p:cNvSpPr>
            <a:spLocks/>
          </p:cNvSpPr>
          <p:nvPr/>
        </p:nvSpPr>
        <p:spPr>
          <a:xfrm>
            <a:off x="6483084" y="3652239"/>
            <a:ext cx="1967551" cy="866456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Visualización de Datos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CE49DD9-4EDE-4143-9621-EBC49580BAEE}"/>
              </a:ext>
            </a:extLst>
          </p:cNvPr>
          <p:cNvGrpSpPr/>
          <p:nvPr/>
        </p:nvGrpSpPr>
        <p:grpSpPr>
          <a:xfrm>
            <a:off x="11537879" y="6256962"/>
            <a:ext cx="501722" cy="467700"/>
            <a:chOff x="7101720" y="656022"/>
            <a:chExt cx="2518529" cy="2377221"/>
          </a:xfrm>
        </p:grpSpPr>
        <p:sp>
          <p:nvSpPr>
            <p:cNvPr id="21" name="object 16">
              <a:extLst>
                <a:ext uri="{FF2B5EF4-FFF2-40B4-BE49-F238E27FC236}">
                  <a16:creationId xmlns:a16="http://schemas.microsoft.com/office/drawing/2014/main" id="{29A12E78-FB47-482F-80E0-D6B92807EF76}"/>
                </a:ext>
              </a:extLst>
            </p:cNvPr>
            <p:cNvSpPr/>
            <p:nvPr/>
          </p:nvSpPr>
          <p:spPr>
            <a:xfrm>
              <a:off x="7116290" y="656022"/>
              <a:ext cx="2018209" cy="809100"/>
            </a:xfrm>
            <a:custGeom>
              <a:avLst/>
              <a:gdLst/>
              <a:ahLst/>
              <a:cxnLst/>
              <a:rect l="l" t="t" r="r" b="b"/>
              <a:pathLst>
                <a:path w="784225" h="286384">
                  <a:moveTo>
                    <a:pt x="784021" y="0"/>
                  </a:moveTo>
                  <a:lnTo>
                    <a:pt x="0" y="286156"/>
                  </a:lnTo>
                  <a:lnTo>
                    <a:pt x="784021" y="147650"/>
                  </a:lnTo>
                  <a:lnTo>
                    <a:pt x="784021" y="0"/>
                  </a:lnTo>
                  <a:close/>
                </a:path>
              </a:pathLst>
            </a:custGeom>
            <a:solidFill>
              <a:srgbClr val="FFD4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17">
              <a:extLst>
                <a:ext uri="{FF2B5EF4-FFF2-40B4-BE49-F238E27FC236}">
                  <a16:creationId xmlns:a16="http://schemas.microsoft.com/office/drawing/2014/main" id="{26812F30-9D7F-4B5D-B57C-1C5E0876FC04}"/>
                </a:ext>
              </a:extLst>
            </p:cNvPr>
            <p:cNvSpPr/>
            <p:nvPr/>
          </p:nvSpPr>
          <p:spPr>
            <a:xfrm>
              <a:off x="7101720" y="1800553"/>
              <a:ext cx="2518529" cy="1232690"/>
            </a:xfrm>
            <a:prstGeom prst="rect">
              <a:avLst/>
            </a:prstGeom>
            <a:blipFill>
              <a:blip r:embed="rId4" cstate="print"/>
              <a:stretch>
                <a:fillRect b="-69966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Rectangle 16">
            <a:extLst>
              <a:ext uri="{FF2B5EF4-FFF2-40B4-BE49-F238E27FC236}">
                <a16:creationId xmlns:a16="http://schemas.microsoft.com/office/drawing/2014/main" id="{A9B53497-8654-4765-BA7F-56326849F6BE}"/>
              </a:ext>
            </a:extLst>
          </p:cNvPr>
          <p:cNvSpPr/>
          <p:nvPr/>
        </p:nvSpPr>
        <p:spPr>
          <a:xfrm>
            <a:off x="8858050" y="1919576"/>
            <a:ext cx="2503205" cy="4937142"/>
          </a:xfrm>
          <a:prstGeom prst="rect">
            <a:avLst/>
          </a:prstGeom>
          <a:solidFill>
            <a:schemeClr val="tx1">
              <a:lumMod val="85000"/>
              <a:lumOff val="15000"/>
              <a:alpha val="6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24" name="Textfeld 4">
            <a:extLst>
              <a:ext uri="{FF2B5EF4-FFF2-40B4-BE49-F238E27FC236}">
                <a16:creationId xmlns:a16="http://schemas.microsoft.com/office/drawing/2014/main" id="{548D1EAE-2C88-4B1F-915D-2D5670F0F0BB}"/>
              </a:ext>
            </a:extLst>
          </p:cNvPr>
          <p:cNvSpPr txBox="1"/>
          <p:nvPr/>
        </p:nvSpPr>
        <p:spPr bwMode="gray">
          <a:xfrm>
            <a:off x="9279502" y="2051433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4</a:t>
            </a:r>
          </a:p>
        </p:txBody>
      </p:sp>
      <p:sp>
        <p:nvSpPr>
          <p:cNvPr id="25" name="Rectangle 25">
            <a:extLst>
              <a:ext uri="{FF2B5EF4-FFF2-40B4-BE49-F238E27FC236}">
                <a16:creationId xmlns:a16="http://schemas.microsoft.com/office/drawing/2014/main" id="{F067BC78-5203-463A-A5C4-19ED3C5BAEE2}"/>
              </a:ext>
            </a:extLst>
          </p:cNvPr>
          <p:cNvSpPr>
            <a:spLocks/>
          </p:cNvSpPr>
          <p:nvPr/>
        </p:nvSpPr>
        <p:spPr>
          <a:xfrm>
            <a:off x="9131221" y="3631667"/>
            <a:ext cx="2176918" cy="527901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dirty="0">
                <a:solidFill>
                  <a:srgbClr val="FFE600"/>
                </a:solidFill>
                <a:latin typeface="EYInterstate"/>
              </a:rPr>
              <a:t>Conclusiones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50164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7" name="Rectangle 20486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482" name="Picture 2" descr="Vivir del Crímen: Salidas Profesionales de Criminología">
            <a:extLst>
              <a:ext uri="{FF2B5EF4-FFF2-40B4-BE49-F238E27FC236}">
                <a16:creationId xmlns:a16="http://schemas.microsoft.com/office/drawing/2014/main" id="{C34E4454-2349-4239-951A-B65C6695B4A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30"/>
          <a:stretch/>
        </p:blipFill>
        <p:spPr bwMode="auto">
          <a:xfrm>
            <a:off x="20" y="0"/>
            <a:ext cx="1219198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5FA3147-3F96-4985-8AE1-FF59EF91635A}"/>
              </a:ext>
            </a:extLst>
          </p:cNvPr>
          <p:cNvGrpSpPr/>
          <p:nvPr/>
        </p:nvGrpSpPr>
        <p:grpSpPr>
          <a:xfrm>
            <a:off x="11537879" y="6256962"/>
            <a:ext cx="501722" cy="467700"/>
            <a:chOff x="7101720" y="656022"/>
            <a:chExt cx="2518529" cy="2377221"/>
          </a:xfrm>
        </p:grpSpPr>
        <p:sp>
          <p:nvSpPr>
            <p:cNvPr id="5" name="object 16">
              <a:extLst>
                <a:ext uri="{FF2B5EF4-FFF2-40B4-BE49-F238E27FC236}">
                  <a16:creationId xmlns:a16="http://schemas.microsoft.com/office/drawing/2014/main" id="{3322E83A-D85B-4F00-A355-276FE8BC7677}"/>
                </a:ext>
              </a:extLst>
            </p:cNvPr>
            <p:cNvSpPr/>
            <p:nvPr/>
          </p:nvSpPr>
          <p:spPr>
            <a:xfrm>
              <a:off x="7116290" y="656022"/>
              <a:ext cx="2018209" cy="809100"/>
            </a:xfrm>
            <a:custGeom>
              <a:avLst/>
              <a:gdLst/>
              <a:ahLst/>
              <a:cxnLst/>
              <a:rect l="l" t="t" r="r" b="b"/>
              <a:pathLst>
                <a:path w="784225" h="286384">
                  <a:moveTo>
                    <a:pt x="784021" y="0"/>
                  </a:moveTo>
                  <a:lnTo>
                    <a:pt x="0" y="286156"/>
                  </a:lnTo>
                  <a:lnTo>
                    <a:pt x="784021" y="147650"/>
                  </a:lnTo>
                  <a:lnTo>
                    <a:pt x="784021" y="0"/>
                  </a:lnTo>
                  <a:close/>
                </a:path>
              </a:pathLst>
            </a:custGeom>
            <a:solidFill>
              <a:srgbClr val="FFD4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17">
              <a:extLst>
                <a:ext uri="{FF2B5EF4-FFF2-40B4-BE49-F238E27FC236}">
                  <a16:creationId xmlns:a16="http://schemas.microsoft.com/office/drawing/2014/main" id="{F71C9C01-4912-481A-9DFD-BE4684210BF5}"/>
                </a:ext>
              </a:extLst>
            </p:cNvPr>
            <p:cNvSpPr/>
            <p:nvPr/>
          </p:nvSpPr>
          <p:spPr>
            <a:xfrm>
              <a:off x="7101720" y="1800553"/>
              <a:ext cx="2518529" cy="1232690"/>
            </a:xfrm>
            <a:prstGeom prst="rect">
              <a:avLst/>
            </a:prstGeom>
            <a:blipFill>
              <a:blip r:embed="rId3" cstate="print">
                <a:lum bright="70000" contrast="-70000"/>
              </a:blip>
              <a:stretch>
                <a:fillRect b="-69966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Rectangle 16">
            <a:extLst>
              <a:ext uri="{FF2B5EF4-FFF2-40B4-BE49-F238E27FC236}">
                <a16:creationId xmlns:a16="http://schemas.microsoft.com/office/drawing/2014/main" id="{1697D79F-D455-483B-B89F-2D34C4F9D0F2}"/>
              </a:ext>
            </a:extLst>
          </p:cNvPr>
          <p:cNvSpPr/>
          <p:nvPr/>
        </p:nvSpPr>
        <p:spPr>
          <a:xfrm>
            <a:off x="1216582" y="1001206"/>
            <a:ext cx="9758835" cy="4855587"/>
          </a:xfrm>
          <a:prstGeom prst="rect">
            <a:avLst/>
          </a:prstGeom>
          <a:solidFill>
            <a:schemeClr val="tx2">
              <a:lumMod val="10000"/>
              <a:alpha val="89804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37" name="Rectangle 25">
            <a:extLst>
              <a:ext uri="{FF2B5EF4-FFF2-40B4-BE49-F238E27FC236}">
                <a16:creationId xmlns:a16="http://schemas.microsoft.com/office/drawing/2014/main" id="{81A220CC-1B81-488F-B8F1-4172B94BBAD8}"/>
              </a:ext>
            </a:extLst>
          </p:cNvPr>
          <p:cNvSpPr>
            <a:spLocks/>
          </p:cNvSpPr>
          <p:nvPr/>
        </p:nvSpPr>
        <p:spPr>
          <a:xfrm>
            <a:off x="1617508" y="1430034"/>
            <a:ext cx="1822620" cy="798745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6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crimen</a:t>
            </a:r>
            <a:endParaRPr kumimoji="0" lang="es-ES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8" name="Rectangle 25">
            <a:extLst>
              <a:ext uri="{FF2B5EF4-FFF2-40B4-BE49-F238E27FC236}">
                <a16:creationId xmlns:a16="http://schemas.microsoft.com/office/drawing/2014/main" id="{12A7B3FD-9217-4A3D-9178-338E25A2F2C2}"/>
              </a:ext>
            </a:extLst>
          </p:cNvPr>
          <p:cNvSpPr>
            <a:spLocks/>
          </p:cNvSpPr>
          <p:nvPr/>
        </p:nvSpPr>
        <p:spPr>
          <a:xfrm>
            <a:off x="1617508" y="2090130"/>
            <a:ext cx="5729590" cy="283989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Del lat. </a:t>
            </a:r>
            <a:r>
              <a:rPr kumimoji="0" lang="es-ES" i="1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crimen</a:t>
            </a:r>
            <a:endParaRPr kumimoji="0" lang="es-ES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9" name="Rectangle 25">
            <a:extLst>
              <a:ext uri="{FF2B5EF4-FFF2-40B4-BE49-F238E27FC236}">
                <a16:creationId xmlns:a16="http://schemas.microsoft.com/office/drawing/2014/main" id="{66DEEBBA-C8B3-4928-8F97-90B32EABD2D7}"/>
              </a:ext>
            </a:extLst>
          </p:cNvPr>
          <p:cNvSpPr>
            <a:spLocks/>
          </p:cNvSpPr>
          <p:nvPr/>
        </p:nvSpPr>
        <p:spPr>
          <a:xfrm>
            <a:off x="1617507" y="2888875"/>
            <a:ext cx="7239413" cy="1502784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1. m. Delito grave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2. m. Acción indebida o reprensible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3. m. Acción voluntaria de matar o herir gravemente a alguien.</a:t>
            </a:r>
            <a:endParaRPr kumimoji="0" lang="es-ES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0" name="Rectangle 25">
            <a:extLst>
              <a:ext uri="{FF2B5EF4-FFF2-40B4-BE49-F238E27FC236}">
                <a16:creationId xmlns:a16="http://schemas.microsoft.com/office/drawing/2014/main" id="{90E9122F-028D-4C85-BC49-F812FDB05D54}"/>
              </a:ext>
            </a:extLst>
          </p:cNvPr>
          <p:cNvSpPr>
            <a:spLocks/>
          </p:cNvSpPr>
          <p:nvPr/>
        </p:nvSpPr>
        <p:spPr>
          <a:xfrm>
            <a:off x="3204376" y="5427966"/>
            <a:ext cx="7239413" cy="220894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Real Academia Española</a:t>
            </a:r>
            <a:endParaRPr kumimoji="0" lang="es-ES" sz="140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49774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 descr="Vivir del Crímen: Salidas Profesionales de Criminología">
            <a:extLst>
              <a:ext uri="{FF2B5EF4-FFF2-40B4-BE49-F238E27FC236}">
                <a16:creationId xmlns:a16="http://schemas.microsoft.com/office/drawing/2014/main" id="{C34E4454-2349-4239-951A-B65C6695B4A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grayscl/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30"/>
          <a:stretch/>
        </p:blipFill>
        <p:spPr bwMode="auto">
          <a:xfrm>
            <a:off x="20" y="0"/>
            <a:ext cx="1219198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5FA3147-3F96-4985-8AE1-FF59EF91635A}"/>
              </a:ext>
            </a:extLst>
          </p:cNvPr>
          <p:cNvGrpSpPr/>
          <p:nvPr/>
        </p:nvGrpSpPr>
        <p:grpSpPr>
          <a:xfrm>
            <a:off x="11537879" y="6256962"/>
            <a:ext cx="501722" cy="467700"/>
            <a:chOff x="7101720" y="656022"/>
            <a:chExt cx="2518529" cy="2377221"/>
          </a:xfrm>
        </p:grpSpPr>
        <p:sp>
          <p:nvSpPr>
            <p:cNvPr id="5" name="object 16">
              <a:extLst>
                <a:ext uri="{FF2B5EF4-FFF2-40B4-BE49-F238E27FC236}">
                  <a16:creationId xmlns:a16="http://schemas.microsoft.com/office/drawing/2014/main" id="{3322E83A-D85B-4F00-A355-276FE8BC7677}"/>
                </a:ext>
              </a:extLst>
            </p:cNvPr>
            <p:cNvSpPr/>
            <p:nvPr/>
          </p:nvSpPr>
          <p:spPr>
            <a:xfrm>
              <a:off x="7116290" y="656022"/>
              <a:ext cx="2018209" cy="809100"/>
            </a:xfrm>
            <a:custGeom>
              <a:avLst/>
              <a:gdLst/>
              <a:ahLst/>
              <a:cxnLst/>
              <a:rect l="l" t="t" r="r" b="b"/>
              <a:pathLst>
                <a:path w="784225" h="286384">
                  <a:moveTo>
                    <a:pt x="784021" y="0"/>
                  </a:moveTo>
                  <a:lnTo>
                    <a:pt x="0" y="286156"/>
                  </a:lnTo>
                  <a:lnTo>
                    <a:pt x="784021" y="147650"/>
                  </a:lnTo>
                  <a:lnTo>
                    <a:pt x="784021" y="0"/>
                  </a:lnTo>
                  <a:close/>
                </a:path>
              </a:pathLst>
            </a:custGeom>
            <a:solidFill>
              <a:srgbClr val="FFD4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17">
              <a:extLst>
                <a:ext uri="{FF2B5EF4-FFF2-40B4-BE49-F238E27FC236}">
                  <a16:creationId xmlns:a16="http://schemas.microsoft.com/office/drawing/2014/main" id="{F71C9C01-4912-481A-9DFD-BE4684210BF5}"/>
                </a:ext>
              </a:extLst>
            </p:cNvPr>
            <p:cNvSpPr/>
            <p:nvPr/>
          </p:nvSpPr>
          <p:spPr>
            <a:xfrm>
              <a:off x="7101720" y="1800553"/>
              <a:ext cx="2518529" cy="1232690"/>
            </a:xfrm>
            <a:prstGeom prst="rect">
              <a:avLst/>
            </a:prstGeom>
            <a:blipFill>
              <a:blip r:embed="rId3" cstate="print">
                <a:lum bright="70000" contrast="-70000"/>
              </a:blip>
              <a:stretch>
                <a:fillRect b="-69966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Rectangle 16">
            <a:extLst>
              <a:ext uri="{FF2B5EF4-FFF2-40B4-BE49-F238E27FC236}">
                <a16:creationId xmlns:a16="http://schemas.microsoft.com/office/drawing/2014/main" id="{FB57F511-C405-40CE-B627-41745E2AF9CC}"/>
              </a:ext>
            </a:extLst>
          </p:cNvPr>
          <p:cNvSpPr/>
          <p:nvPr/>
        </p:nvSpPr>
        <p:spPr>
          <a:xfrm>
            <a:off x="20" y="-1"/>
            <a:ext cx="12191980" cy="6857999"/>
          </a:xfrm>
          <a:prstGeom prst="rect">
            <a:avLst/>
          </a:prstGeom>
          <a:solidFill>
            <a:srgbClr val="07080B">
              <a:alpha val="45098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9083671-B683-4FFC-9007-3B8C0EF9E5B6}"/>
              </a:ext>
            </a:extLst>
          </p:cNvPr>
          <p:cNvGrpSpPr/>
          <p:nvPr/>
        </p:nvGrpSpPr>
        <p:grpSpPr>
          <a:xfrm>
            <a:off x="11537879" y="6256962"/>
            <a:ext cx="501722" cy="467700"/>
            <a:chOff x="7101720" y="656022"/>
            <a:chExt cx="2518529" cy="2377221"/>
          </a:xfrm>
        </p:grpSpPr>
        <p:sp>
          <p:nvSpPr>
            <p:cNvPr id="14" name="object 16">
              <a:extLst>
                <a:ext uri="{FF2B5EF4-FFF2-40B4-BE49-F238E27FC236}">
                  <a16:creationId xmlns:a16="http://schemas.microsoft.com/office/drawing/2014/main" id="{A6822E50-8444-4318-ADB4-8F5FC72B2830}"/>
                </a:ext>
              </a:extLst>
            </p:cNvPr>
            <p:cNvSpPr/>
            <p:nvPr/>
          </p:nvSpPr>
          <p:spPr>
            <a:xfrm>
              <a:off x="7116290" y="656022"/>
              <a:ext cx="2018209" cy="809100"/>
            </a:xfrm>
            <a:custGeom>
              <a:avLst/>
              <a:gdLst/>
              <a:ahLst/>
              <a:cxnLst/>
              <a:rect l="l" t="t" r="r" b="b"/>
              <a:pathLst>
                <a:path w="784225" h="286384">
                  <a:moveTo>
                    <a:pt x="784021" y="0"/>
                  </a:moveTo>
                  <a:lnTo>
                    <a:pt x="0" y="286156"/>
                  </a:lnTo>
                  <a:lnTo>
                    <a:pt x="784021" y="147650"/>
                  </a:lnTo>
                  <a:lnTo>
                    <a:pt x="784021" y="0"/>
                  </a:lnTo>
                  <a:close/>
                </a:path>
              </a:pathLst>
            </a:custGeom>
            <a:solidFill>
              <a:srgbClr val="FFD4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7">
              <a:extLst>
                <a:ext uri="{FF2B5EF4-FFF2-40B4-BE49-F238E27FC236}">
                  <a16:creationId xmlns:a16="http://schemas.microsoft.com/office/drawing/2014/main" id="{682D254F-8A86-4009-B0D1-3630A58AE14D}"/>
                </a:ext>
              </a:extLst>
            </p:cNvPr>
            <p:cNvSpPr/>
            <p:nvPr/>
          </p:nvSpPr>
          <p:spPr>
            <a:xfrm>
              <a:off x="7101720" y="1800553"/>
              <a:ext cx="2518529" cy="1232690"/>
            </a:xfrm>
            <a:prstGeom prst="rect">
              <a:avLst/>
            </a:prstGeom>
            <a:blipFill>
              <a:blip r:embed="rId3" cstate="print">
                <a:lum bright="70000" contrast="-70000"/>
              </a:blip>
              <a:stretch>
                <a:fillRect b="-69966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Rectangle 16">
            <a:extLst>
              <a:ext uri="{FF2B5EF4-FFF2-40B4-BE49-F238E27FC236}">
                <a16:creationId xmlns:a16="http://schemas.microsoft.com/office/drawing/2014/main" id="{30FFBAE3-AE5C-4E15-8E4C-05677B7517B2}"/>
              </a:ext>
            </a:extLst>
          </p:cNvPr>
          <p:cNvSpPr/>
          <p:nvPr/>
        </p:nvSpPr>
        <p:spPr>
          <a:xfrm>
            <a:off x="1182067" y="864729"/>
            <a:ext cx="2503205" cy="2862679"/>
          </a:xfrm>
          <a:prstGeom prst="rect">
            <a:avLst/>
          </a:prstGeom>
          <a:solidFill>
            <a:srgbClr val="3B3838">
              <a:alpha val="74902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B686C8-DC42-455E-904A-E5989F08F9EB}"/>
              </a:ext>
            </a:extLst>
          </p:cNvPr>
          <p:cNvSpPr/>
          <p:nvPr/>
        </p:nvSpPr>
        <p:spPr>
          <a:xfrm>
            <a:off x="1182066" y="3990159"/>
            <a:ext cx="2503205" cy="1797470"/>
          </a:xfrm>
          <a:prstGeom prst="rect">
            <a:avLst/>
          </a:prstGeom>
          <a:solidFill>
            <a:srgbClr val="3B3838">
              <a:alpha val="74902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sp>
        <p:nvSpPr>
          <p:cNvPr id="18" name="Rectangle 25">
            <a:extLst>
              <a:ext uri="{FF2B5EF4-FFF2-40B4-BE49-F238E27FC236}">
                <a16:creationId xmlns:a16="http://schemas.microsoft.com/office/drawing/2014/main" id="{A84D9C29-C526-46F1-9129-04DFAE009D3C}"/>
              </a:ext>
            </a:extLst>
          </p:cNvPr>
          <p:cNvSpPr>
            <a:spLocks/>
          </p:cNvSpPr>
          <p:nvPr/>
        </p:nvSpPr>
        <p:spPr>
          <a:xfrm>
            <a:off x="1522358" y="1142714"/>
            <a:ext cx="1822620" cy="378630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400" b="1" dirty="0">
                <a:solidFill>
                  <a:srgbClr val="D9D9D9"/>
                </a:solidFill>
                <a:latin typeface="EYInterstate"/>
              </a:rPr>
              <a:t>ESPAÑA</a:t>
            </a:r>
            <a:endParaRPr kumimoji="0" lang="es-ES" sz="2000" b="1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9" name="Rectangle 25">
            <a:extLst>
              <a:ext uri="{FF2B5EF4-FFF2-40B4-BE49-F238E27FC236}">
                <a16:creationId xmlns:a16="http://schemas.microsoft.com/office/drawing/2014/main" id="{1007466D-6382-497B-A09E-F7E199E732C7}"/>
              </a:ext>
            </a:extLst>
          </p:cNvPr>
          <p:cNvSpPr>
            <a:spLocks/>
          </p:cNvSpPr>
          <p:nvPr/>
        </p:nvSpPr>
        <p:spPr>
          <a:xfrm>
            <a:off x="1392939" y="1802309"/>
            <a:ext cx="2162913" cy="504882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3200" b="1" dirty="0">
                <a:solidFill>
                  <a:srgbClr val="FFE600"/>
                </a:solidFill>
                <a:latin typeface="EYInterstate"/>
              </a:rPr>
              <a:t>1.734.625</a:t>
            </a:r>
            <a:endParaRPr kumimoji="0" lang="es-ES" sz="3200" b="1" i="0" u="none" strike="noStrike" kern="1200" cap="none" spc="0" normalizeH="0" baseline="0" noProof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0" name="Rectangle 25">
            <a:extLst>
              <a:ext uri="{FF2B5EF4-FFF2-40B4-BE49-F238E27FC236}">
                <a16:creationId xmlns:a16="http://schemas.microsoft.com/office/drawing/2014/main" id="{DAF8603D-D520-470F-9AAA-C9541B9C05BB}"/>
              </a:ext>
            </a:extLst>
          </p:cNvPr>
          <p:cNvSpPr>
            <a:spLocks/>
          </p:cNvSpPr>
          <p:nvPr/>
        </p:nvSpPr>
        <p:spPr>
          <a:xfrm>
            <a:off x="1508167" y="2702269"/>
            <a:ext cx="2033494" cy="615553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dirty="0">
                <a:solidFill>
                  <a:srgbClr val="D9D9D9"/>
                </a:solidFill>
                <a:latin typeface="EYInterstate"/>
              </a:rPr>
              <a:t>Infracciones penales en 2022</a:t>
            </a:r>
            <a:endParaRPr kumimoji="0" lang="es-ES" sz="3200" b="1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1" name="Rectangle 25">
            <a:extLst>
              <a:ext uri="{FF2B5EF4-FFF2-40B4-BE49-F238E27FC236}">
                <a16:creationId xmlns:a16="http://schemas.microsoft.com/office/drawing/2014/main" id="{D245A995-CA2A-416C-B4E2-02FB1BE62D89}"/>
              </a:ext>
            </a:extLst>
          </p:cNvPr>
          <p:cNvSpPr>
            <a:spLocks/>
          </p:cNvSpPr>
          <p:nvPr/>
        </p:nvSpPr>
        <p:spPr>
          <a:xfrm>
            <a:off x="1405033" y="4213592"/>
            <a:ext cx="2247474" cy="1502784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342900" indent="-342900"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es-ES" dirty="0">
                <a:solidFill>
                  <a:srgbClr val="D9D9D9"/>
                </a:solidFill>
                <a:latin typeface="EYInterstate"/>
              </a:rPr>
              <a:t>Hurtos</a:t>
            </a:r>
          </a:p>
          <a:p>
            <a:pPr marL="342900" indent="-342900"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es-ES" dirty="0">
                <a:solidFill>
                  <a:srgbClr val="D9D9D9"/>
                </a:solidFill>
                <a:latin typeface="EYInterstate"/>
              </a:rPr>
              <a:t>Robos con fuerza y violencia</a:t>
            </a:r>
          </a:p>
          <a:p>
            <a:pPr marL="342900" indent="-342900"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es-ES" dirty="0">
                <a:solidFill>
                  <a:srgbClr val="D9D9D9"/>
                </a:solidFill>
                <a:latin typeface="EYInterstate"/>
              </a:rPr>
              <a:t>Sustracción de vehículos</a:t>
            </a:r>
          </a:p>
        </p:txBody>
      </p:sp>
      <p:sp>
        <p:nvSpPr>
          <p:cNvPr id="22" name="Rectangle 16">
            <a:extLst>
              <a:ext uri="{FF2B5EF4-FFF2-40B4-BE49-F238E27FC236}">
                <a16:creationId xmlns:a16="http://schemas.microsoft.com/office/drawing/2014/main" id="{CB0A3856-29C0-49E9-90E0-E500BDE5AB09}"/>
              </a:ext>
            </a:extLst>
          </p:cNvPr>
          <p:cNvSpPr/>
          <p:nvPr/>
        </p:nvSpPr>
        <p:spPr>
          <a:xfrm>
            <a:off x="1302568" y="985231"/>
            <a:ext cx="2503205" cy="2862680"/>
          </a:xfrm>
          <a:prstGeom prst="rect">
            <a:avLst/>
          </a:prstGeom>
          <a:noFill/>
          <a:ln w="9525" cap="rnd">
            <a:solidFill>
              <a:srgbClr val="AFABAB"/>
            </a:solidFill>
            <a:prstDash val="lgDashDotDot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23" name="Rectangle 16">
            <a:extLst>
              <a:ext uri="{FF2B5EF4-FFF2-40B4-BE49-F238E27FC236}">
                <a16:creationId xmlns:a16="http://schemas.microsoft.com/office/drawing/2014/main" id="{067F9CD2-BE1A-46A8-B39F-4AC4FF914227}"/>
              </a:ext>
            </a:extLst>
          </p:cNvPr>
          <p:cNvSpPr/>
          <p:nvPr/>
        </p:nvSpPr>
        <p:spPr>
          <a:xfrm>
            <a:off x="1316739" y="4117703"/>
            <a:ext cx="2503205" cy="1797470"/>
          </a:xfrm>
          <a:prstGeom prst="rect">
            <a:avLst/>
          </a:prstGeom>
          <a:noFill/>
          <a:ln w="9525" cap="rnd">
            <a:solidFill>
              <a:srgbClr val="AFABAB"/>
            </a:solidFill>
            <a:prstDash val="lgDashDotDot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sp>
        <p:nvSpPr>
          <p:cNvPr id="33" name="Rectangle 25">
            <a:extLst>
              <a:ext uri="{FF2B5EF4-FFF2-40B4-BE49-F238E27FC236}">
                <a16:creationId xmlns:a16="http://schemas.microsoft.com/office/drawing/2014/main" id="{BB95FFEE-3F79-41CF-828F-32455F0525EF}"/>
              </a:ext>
            </a:extLst>
          </p:cNvPr>
          <p:cNvSpPr>
            <a:spLocks/>
          </p:cNvSpPr>
          <p:nvPr/>
        </p:nvSpPr>
        <p:spPr>
          <a:xfrm>
            <a:off x="8304029" y="2897613"/>
            <a:ext cx="3155757" cy="2769989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000" dirty="0">
                <a:solidFill>
                  <a:srgbClr val="D9D9D9"/>
                </a:solidFill>
                <a:latin typeface="EYInterstate"/>
              </a:rPr>
              <a:t>¿Influyen ciertos factores económicos y sociales en el índice de criminalidad de un país? </a:t>
            </a: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2000" dirty="0">
              <a:solidFill>
                <a:srgbClr val="D9D9D9"/>
              </a:solidFill>
              <a:latin typeface="EYInterstate"/>
            </a:endParaRP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000" dirty="0">
                <a:solidFill>
                  <a:srgbClr val="D9D9D9"/>
                </a:solidFill>
                <a:latin typeface="EYInterstate"/>
              </a:rPr>
              <a:t>¿Existen características comunes a los países con mayor y menor índice de criminalidad?</a:t>
            </a:r>
          </a:p>
        </p:txBody>
      </p:sp>
      <p:sp>
        <p:nvSpPr>
          <p:cNvPr id="34" name="Rectangle 25">
            <a:extLst>
              <a:ext uri="{FF2B5EF4-FFF2-40B4-BE49-F238E27FC236}">
                <a16:creationId xmlns:a16="http://schemas.microsoft.com/office/drawing/2014/main" id="{9FB437BF-166F-4AC9-A691-8A1556FE4C8C}"/>
              </a:ext>
            </a:extLst>
          </p:cNvPr>
          <p:cNvSpPr>
            <a:spLocks/>
          </p:cNvSpPr>
          <p:nvPr/>
        </p:nvSpPr>
        <p:spPr>
          <a:xfrm>
            <a:off x="9398972" y="828603"/>
            <a:ext cx="965870" cy="1846659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0" dirty="0">
                <a:solidFill>
                  <a:srgbClr val="FFE600"/>
                </a:solidFill>
                <a:latin typeface="EYInterstate"/>
              </a:rPr>
              <a:t>?</a:t>
            </a:r>
          </a:p>
        </p:txBody>
      </p:sp>
      <p:sp>
        <p:nvSpPr>
          <p:cNvPr id="35" name="Rectangle 16">
            <a:extLst>
              <a:ext uri="{FF2B5EF4-FFF2-40B4-BE49-F238E27FC236}">
                <a16:creationId xmlns:a16="http://schemas.microsoft.com/office/drawing/2014/main" id="{CD14D035-CDC9-47E6-9AEB-AE5827237CFD}"/>
              </a:ext>
            </a:extLst>
          </p:cNvPr>
          <p:cNvSpPr/>
          <p:nvPr/>
        </p:nvSpPr>
        <p:spPr>
          <a:xfrm>
            <a:off x="4502046" y="864729"/>
            <a:ext cx="2503205" cy="4922900"/>
          </a:xfrm>
          <a:prstGeom prst="rect">
            <a:avLst/>
          </a:prstGeom>
          <a:solidFill>
            <a:srgbClr val="3B3838">
              <a:alpha val="74902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36" name="Rectangle 25">
            <a:extLst>
              <a:ext uri="{FF2B5EF4-FFF2-40B4-BE49-F238E27FC236}">
                <a16:creationId xmlns:a16="http://schemas.microsoft.com/office/drawing/2014/main" id="{E32B2F49-E123-4F0B-982C-6FCAB7ECB539}"/>
              </a:ext>
            </a:extLst>
          </p:cNvPr>
          <p:cNvSpPr>
            <a:spLocks/>
          </p:cNvSpPr>
          <p:nvPr/>
        </p:nvSpPr>
        <p:spPr>
          <a:xfrm>
            <a:off x="4842337" y="1142714"/>
            <a:ext cx="1822620" cy="784895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400" b="1" dirty="0">
                <a:solidFill>
                  <a:srgbClr val="D9D9D9"/>
                </a:solidFill>
                <a:latin typeface="EYInterstate"/>
              </a:rPr>
              <a:t>NIVEL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MUNDIAL</a:t>
            </a:r>
            <a:endParaRPr kumimoji="0" lang="es-ES" sz="2400" b="1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2" name="Rectangle 25">
            <a:extLst>
              <a:ext uri="{FF2B5EF4-FFF2-40B4-BE49-F238E27FC236}">
                <a16:creationId xmlns:a16="http://schemas.microsoft.com/office/drawing/2014/main" id="{04BEC945-BB1A-40CD-93DA-E4C187613F53}"/>
              </a:ext>
            </a:extLst>
          </p:cNvPr>
          <p:cNvSpPr>
            <a:spLocks/>
          </p:cNvSpPr>
          <p:nvPr/>
        </p:nvSpPr>
        <p:spPr>
          <a:xfrm>
            <a:off x="4834715" y="2447734"/>
            <a:ext cx="2066463" cy="2769989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342900" marR="0" lvl="0" indent="-34290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s-ES" dirty="0">
                <a:solidFill>
                  <a:srgbClr val="D9D9D9"/>
                </a:solidFill>
                <a:latin typeface="EYInterstate"/>
              </a:rPr>
              <a:t>Robo</a:t>
            </a:r>
          </a:p>
          <a:p>
            <a:pPr marL="342900" marR="0" lvl="0" indent="-34290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es-ES" dirty="0">
              <a:solidFill>
                <a:srgbClr val="D9D9D9"/>
              </a:solidFill>
              <a:latin typeface="EYInterstate"/>
            </a:endParaRPr>
          </a:p>
          <a:p>
            <a:pPr marL="342900" marR="0" lvl="0" indent="-34290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s-ES" dirty="0">
                <a:solidFill>
                  <a:srgbClr val="D9D9D9"/>
                </a:solidFill>
                <a:latin typeface="EYInterstate"/>
              </a:rPr>
              <a:t>Agresión</a:t>
            </a:r>
          </a:p>
          <a:p>
            <a:pPr marL="342900" marR="0" lvl="0" indent="-34290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es-ES" dirty="0">
              <a:solidFill>
                <a:srgbClr val="D9D9D9"/>
              </a:solidFill>
              <a:latin typeface="EYInterstate"/>
            </a:endParaRPr>
          </a:p>
          <a:p>
            <a:pPr marL="342900" marR="0" lvl="0" indent="-34290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s-ES" dirty="0">
                <a:solidFill>
                  <a:srgbClr val="D9D9D9"/>
                </a:solidFill>
                <a:latin typeface="EYInterstate"/>
              </a:rPr>
              <a:t>Delitos de tráfico</a:t>
            </a:r>
          </a:p>
          <a:p>
            <a:pPr marL="342900" marR="0" lvl="0" indent="-34290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es-ES" dirty="0">
              <a:solidFill>
                <a:srgbClr val="D9D9D9"/>
              </a:solidFill>
              <a:latin typeface="EYInterstate"/>
            </a:endParaRPr>
          </a:p>
          <a:p>
            <a:pPr marL="342900" marR="0" lvl="0" indent="-34290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s-ES" dirty="0">
                <a:solidFill>
                  <a:srgbClr val="D9D9D9"/>
                </a:solidFill>
                <a:latin typeface="EYInterstate"/>
              </a:rPr>
              <a:t>Drogas ilegales</a:t>
            </a:r>
          </a:p>
          <a:p>
            <a:pPr marL="342900" marR="0" lvl="0" indent="-34290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es-ES" dirty="0">
              <a:solidFill>
                <a:srgbClr val="D9D9D9"/>
              </a:solidFill>
              <a:latin typeface="EYInterstate"/>
            </a:endParaRPr>
          </a:p>
          <a:p>
            <a:pPr marL="342900" marR="0" lvl="0" indent="-34290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s-ES" dirty="0">
                <a:solidFill>
                  <a:srgbClr val="D9D9D9"/>
                </a:solidFill>
                <a:latin typeface="EYInterstate"/>
              </a:rPr>
              <a:t>Asesinato</a:t>
            </a:r>
            <a:endParaRPr kumimoji="0" lang="es-ES" sz="2800" i="0" u="none" strike="noStrike" kern="120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3" name="Rectangle 16">
            <a:extLst>
              <a:ext uri="{FF2B5EF4-FFF2-40B4-BE49-F238E27FC236}">
                <a16:creationId xmlns:a16="http://schemas.microsoft.com/office/drawing/2014/main" id="{74C756D6-1DE9-47D3-8332-70DEA020474A}"/>
              </a:ext>
            </a:extLst>
          </p:cNvPr>
          <p:cNvSpPr/>
          <p:nvPr/>
        </p:nvSpPr>
        <p:spPr>
          <a:xfrm>
            <a:off x="4622547" y="985229"/>
            <a:ext cx="2503205" cy="4929944"/>
          </a:xfrm>
          <a:prstGeom prst="rect">
            <a:avLst/>
          </a:prstGeom>
          <a:noFill/>
          <a:ln w="9525" cap="rnd">
            <a:solidFill>
              <a:srgbClr val="AFABAB"/>
            </a:solidFill>
            <a:prstDash val="lgDashDotDot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48295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Máster en Análisis de la Escena del Crimen - Escuela Internacional de  Criminología y Criminalística - Opiniones, Información y Precio | Docenzia">
            <a:extLst>
              <a:ext uri="{FF2B5EF4-FFF2-40B4-BE49-F238E27FC236}">
                <a16:creationId xmlns:a16="http://schemas.microsoft.com/office/drawing/2014/main" id="{5DE3E55F-87A7-4182-8D3B-A328F76072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9466"/>
          <a:stretch/>
        </p:blipFill>
        <p:spPr bwMode="auto">
          <a:xfrm>
            <a:off x="-1715" y="-888"/>
            <a:ext cx="4477468" cy="6854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ctangle 25">
            <a:extLst>
              <a:ext uri="{FF2B5EF4-FFF2-40B4-BE49-F238E27FC236}">
                <a16:creationId xmlns:a16="http://schemas.microsoft.com/office/drawing/2014/main" id="{C04A15E6-280F-4413-86E6-A39FDFA57DBF}"/>
              </a:ext>
            </a:extLst>
          </p:cNvPr>
          <p:cNvSpPr/>
          <p:nvPr/>
        </p:nvSpPr>
        <p:spPr bwMode="gray">
          <a:xfrm flipH="1">
            <a:off x="-1716" y="3570"/>
            <a:ext cx="4069253" cy="685443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46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634F696-D622-4372-990E-20D32DFD46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406" imgH="403" progId="TCLayout.ActiveDocument.1">
                  <p:embed/>
                </p:oleObj>
              </mc:Choice>
              <mc:Fallback>
                <p:oleObj name="think-cell Folie" r:id="rId7" imgW="406" imgH="40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634F696-D622-4372-990E-20D32DFD46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7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5D866BC0-AB0B-4E04-AF7A-0A0DD38C614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99" kern="0" dirty="0">
              <a:solidFill>
                <a:srgbClr val="2E2E38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88B0634-8DAB-4F2C-8920-C10293B3CB41}"/>
              </a:ext>
            </a:extLst>
          </p:cNvPr>
          <p:cNvGrpSpPr/>
          <p:nvPr/>
        </p:nvGrpSpPr>
        <p:grpSpPr>
          <a:xfrm>
            <a:off x="5458143" y="635000"/>
            <a:ext cx="5505132" cy="593725"/>
            <a:chOff x="5458143" y="635000"/>
            <a:chExt cx="5505132" cy="593725"/>
          </a:xfrm>
        </p:grpSpPr>
        <p:sp>
          <p:nvSpPr>
            <p:cNvPr id="32" name="Line 10">
              <a:extLst>
                <a:ext uri="{FF2B5EF4-FFF2-40B4-BE49-F238E27FC236}">
                  <a16:creationId xmlns:a16="http://schemas.microsoft.com/office/drawing/2014/main" id="{A8CCD71F-7747-46C6-84E4-1F458559E52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458143" y="1066800"/>
              <a:ext cx="5505132" cy="12400"/>
            </a:xfrm>
            <a:prstGeom prst="line">
              <a:avLst/>
            </a:prstGeom>
            <a:noFill/>
            <a:ln w="9525">
              <a:solidFill>
                <a:srgbClr val="FFE600"/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4" name="Content Placeholder 2">
              <a:extLst>
                <a:ext uri="{FF2B5EF4-FFF2-40B4-BE49-F238E27FC236}">
                  <a16:creationId xmlns:a16="http://schemas.microsoft.com/office/drawing/2014/main" id="{DA644799-F1AE-45B3-B264-68D7D03EC682}"/>
                </a:ext>
              </a:extLst>
            </p:cNvPr>
            <p:cNvSpPr txBox="1">
              <a:spLocks/>
            </p:cNvSpPr>
            <p:nvPr/>
          </p:nvSpPr>
          <p:spPr>
            <a:xfrm>
              <a:off x="5458143" y="635000"/>
              <a:ext cx="3390900" cy="593725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s-ES_tradnl" sz="2000" b="1" dirty="0">
                  <a:solidFill>
                    <a:srgbClr val="FFE600"/>
                  </a:solidFill>
                  <a:latin typeface="EYInterstate" panose="02000503020000020004" pitchFamily="2" charset="0"/>
                </a:rPr>
                <a:t>Objeto de Estudio</a:t>
              </a:r>
              <a:endParaRPr lang="es-ES" sz="2000" b="1" dirty="0">
                <a:solidFill>
                  <a:srgbClr val="FFE600"/>
                </a:solidFill>
                <a:latin typeface="EYInterstate" panose="02000503020000020004" pitchFamily="2" charset="0"/>
              </a:endParaRPr>
            </a:p>
          </p:txBody>
        </p:sp>
      </p:grp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76BB656-89E2-4357-9CE9-8F5A94862A6D}"/>
              </a:ext>
            </a:extLst>
          </p:cNvPr>
          <p:cNvSpPr txBox="1">
            <a:spLocks/>
          </p:cNvSpPr>
          <p:nvPr/>
        </p:nvSpPr>
        <p:spPr>
          <a:xfrm>
            <a:off x="5458143" y="1250658"/>
            <a:ext cx="5505132" cy="111996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_tradnl" sz="1600" dirty="0">
                <a:solidFill>
                  <a:schemeClr val="bg2"/>
                </a:solidFill>
                <a:latin typeface="EYInterstate" panose="02000503020000020004" pitchFamily="2" charset="0"/>
              </a:rPr>
              <a:t>29 variables</a:t>
            </a:r>
          </a:p>
          <a:p>
            <a:r>
              <a:rPr lang="es-ES_tradnl" sz="1600" dirty="0">
                <a:solidFill>
                  <a:schemeClr val="bg2"/>
                </a:solidFill>
                <a:latin typeface="EYInterstate" panose="02000503020000020004" pitchFamily="2" charset="0"/>
              </a:rPr>
              <a:t>231 países </a:t>
            </a:r>
          </a:p>
          <a:p>
            <a:r>
              <a:rPr lang="es-ES_tradnl" sz="1600" dirty="0">
                <a:solidFill>
                  <a:schemeClr val="bg2"/>
                </a:solidFill>
                <a:latin typeface="EYInterstate" panose="02000503020000020004" pitchFamily="2" charset="0"/>
              </a:rPr>
              <a:t>Mundo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FEB9AF1-95E3-44A6-B736-4B0C3F194946}"/>
              </a:ext>
            </a:extLst>
          </p:cNvPr>
          <p:cNvGrpSpPr/>
          <p:nvPr/>
        </p:nvGrpSpPr>
        <p:grpSpPr>
          <a:xfrm>
            <a:off x="5458143" y="2542084"/>
            <a:ext cx="5505132" cy="593725"/>
            <a:chOff x="5458143" y="635000"/>
            <a:chExt cx="5505132" cy="593725"/>
          </a:xfrm>
        </p:grpSpPr>
        <p:sp>
          <p:nvSpPr>
            <p:cNvPr id="37" name="Line 10">
              <a:extLst>
                <a:ext uri="{FF2B5EF4-FFF2-40B4-BE49-F238E27FC236}">
                  <a16:creationId xmlns:a16="http://schemas.microsoft.com/office/drawing/2014/main" id="{FCA5B630-B64E-4F42-9A13-46BB656FEA0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458143" y="1066800"/>
              <a:ext cx="5505132" cy="12400"/>
            </a:xfrm>
            <a:prstGeom prst="line">
              <a:avLst/>
            </a:prstGeom>
            <a:noFill/>
            <a:ln w="9525">
              <a:solidFill>
                <a:srgbClr val="FFE600"/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8" name="Content Placeholder 2">
              <a:extLst>
                <a:ext uri="{FF2B5EF4-FFF2-40B4-BE49-F238E27FC236}">
                  <a16:creationId xmlns:a16="http://schemas.microsoft.com/office/drawing/2014/main" id="{B881C48E-B231-46F2-9375-5E15377F979F}"/>
                </a:ext>
              </a:extLst>
            </p:cNvPr>
            <p:cNvSpPr txBox="1">
              <a:spLocks/>
            </p:cNvSpPr>
            <p:nvPr/>
          </p:nvSpPr>
          <p:spPr>
            <a:xfrm>
              <a:off x="5458143" y="635000"/>
              <a:ext cx="3390900" cy="593725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s-ES_tradnl" sz="2000" b="1" dirty="0">
                  <a:solidFill>
                    <a:srgbClr val="FFE600"/>
                  </a:solidFill>
                  <a:latin typeface="EYInterstate" panose="02000503020000020004" pitchFamily="2" charset="0"/>
                </a:rPr>
                <a:t>Herramientas</a:t>
              </a:r>
              <a:endParaRPr lang="es-ES" sz="2000" b="1" dirty="0">
                <a:solidFill>
                  <a:srgbClr val="FFE600"/>
                </a:solidFill>
                <a:latin typeface="EYInterstate" panose="02000503020000020004" pitchFamily="2" charset="0"/>
              </a:endParaRPr>
            </a:p>
          </p:txBody>
        </p:sp>
      </p:grp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1BA3A12D-56E7-4E8E-91D5-9F884484724E}"/>
              </a:ext>
            </a:extLst>
          </p:cNvPr>
          <p:cNvSpPr txBox="1">
            <a:spLocks/>
          </p:cNvSpPr>
          <p:nvPr/>
        </p:nvSpPr>
        <p:spPr>
          <a:xfrm>
            <a:off x="5458143" y="3157742"/>
            <a:ext cx="5505132" cy="7139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_tradnl" sz="1600" dirty="0">
                <a:solidFill>
                  <a:schemeClr val="bg2"/>
                </a:solidFill>
                <a:latin typeface="EYInterstate" panose="02000503020000020004" pitchFamily="2" charset="0"/>
              </a:rPr>
              <a:t>Python</a:t>
            </a:r>
          </a:p>
          <a:p>
            <a:r>
              <a:rPr lang="es-ES_tradnl" sz="1600" dirty="0" err="1">
                <a:solidFill>
                  <a:schemeClr val="bg2"/>
                </a:solidFill>
                <a:latin typeface="EYInterstate" panose="02000503020000020004" pitchFamily="2" charset="0"/>
              </a:rPr>
              <a:t>PowerBI</a:t>
            </a:r>
            <a:endParaRPr lang="es-ES_tradnl" sz="1600" dirty="0">
              <a:solidFill>
                <a:schemeClr val="bg2"/>
              </a:solidFill>
              <a:latin typeface="EYInterstate" panose="02000503020000020004" pitchFamily="2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6D9A7B4-FC42-430A-9D7C-A5EE22A12F1B}"/>
              </a:ext>
            </a:extLst>
          </p:cNvPr>
          <p:cNvGrpSpPr/>
          <p:nvPr/>
        </p:nvGrpSpPr>
        <p:grpSpPr>
          <a:xfrm>
            <a:off x="5458143" y="4277709"/>
            <a:ext cx="5505132" cy="593725"/>
            <a:chOff x="5458143" y="635000"/>
            <a:chExt cx="5505132" cy="593725"/>
          </a:xfrm>
        </p:grpSpPr>
        <p:sp>
          <p:nvSpPr>
            <p:cNvPr id="41" name="Line 10">
              <a:extLst>
                <a:ext uri="{FF2B5EF4-FFF2-40B4-BE49-F238E27FC236}">
                  <a16:creationId xmlns:a16="http://schemas.microsoft.com/office/drawing/2014/main" id="{397E64FB-5F4D-4753-9E48-9800845DB1F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458143" y="1066800"/>
              <a:ext cx="5505132" cy="12400"/>
            </a:xfrm>
            <a:prstGeom prst="line">
              <a:avLst/>
            </a:prstGeom>
            <a:noFill/>
            <a:ln w="9525">
              <a:solidFill>
                <a:srgbClr val="FFE600"/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42" name="Content Placeholder 2">
              <a:extLst>
                <a:ext uri="{FF2B5EF4-FFF2-40B4-BE49-F238E27FC236}">
                  <a16:creationId xmlns:a16="http://schemas.microsoft.com/office/drawing/2014/main" id="{224493AA-A4E4-47E6-89F0-E240A765F4DD}"/>
                </a:ext>
              </a:extLst>
            </p:cNvPr>
            <p:cNvSpPr txBox="1">
              <a:spLocks/>
            </p:cNvSpPr>
            <p:nvPr/>
          </p:nvSpPr>
          <p:spPr>
            <a:xfrm>
              <a:off x="5458143" y="635000"/>
              <a:ext cx="3390900" cy="593725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s-ES_tradnl" sz="2000" b="1" dirty="0">
                  <a:solidFill>
                    <a:srgbClr val="FFE600"/>
                  </a:solidFill>
                  <a:latin typeface="EYInterstate" panose="02000503020000020004" pitchFamily="2" charset="0"/>
                </a:rPr>
                <a:t>Objetivo</a:t>
              </a:r>
              <a:endParaRPr lang="es-ES" sz="2000" b="1" dirty="0">
                <a:solidFill>
                  <a:srgbClr val="FFE600"/>
                </a:solidFill>
                <a:latin typeface="EYInterstate" panose="02000503020000020004" pitchFamily="2" charset="0"/>
              </a:endParaRPr>
            </a:p>
          </p:txBody>
        </p:sp>
      </p:grp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024DB76F-121C-4D25-B4EE-117C091A5FB0}"/>
              </a:ext>
            </a:extLst>
          </p:cNvPr>
          <p:cNvSpPr txBox="1">
            <a:spLocks/>
          </p:cNvSpPr>
          <p:nvPr/>
        </p:nvSpPr>
        <p:spPr>
          <a:xfrm>
            <a:off x="5458143" y="4893367"/>
            <a:ext cx="5505132" cy="117698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_tradnl" sz="1600" dirty="0">
                <a:solidFill>
                  <a:schemeClr val="bg2"/>
                </a:solidFill>
                <a:latin typeface="EYInterstate" panose="02000503020000020004" pitchFamily="2" charset="0"/>
              </a:rPr>
              <a:t>Identificación de países con mayor y menor criminalidad</a:t>
            </a:r>
          </a:p>
          <a:p>
            <a:r>
              <a:rPr lang="es-ES_tradnl" sz="1600" dirty="0">
                <a:solidFill>
                  <a:schemeClr val="bg2"/>
                </a:solidFill>
                <a:latin typeface="EYInterstate" panose="02000503020000020004" pitchFamily="2" charset="0"/>
              </a:rPr>
              <a:t>¿Existe alguna relación o característica similar entre esos países?</a:t>
            </a:r>
          </a:p>
        </p:txBody>
      </p:sp>
    </p:spTree>
    <p:extLst>
      <p:ext uri="{BB962C8B-B14F-4D97-AF65-F5344CB8AC3E}">
        <p14:creationId xmlns:p14="http://schemas.microsoft.com/office/powerpoint/2010/main" val="12631387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See the source image">
            <a:extLst>
              <a:ext uri="{FF2B5EF4-FFF2-40B4-BE49-F238E27FC236}">
                <a16:creationId xmlns:a16="http://schemas.microsoft.com/office/drawing/2014/main" id="{DB37842D-4A7A-417A-AE55-627651A4A5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548" y="-3674"/>
            <a:ext cx="12205548" cy="6865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el 8">
            <a:extLst>
              <a:ext uri="{FF2B5EF4-FFF2-40B4-BE49-F238E27FC236}">
                <a16:creationId xmlns:a16="http://schemas.microsoft.com/office/drawing/2014/main" id="{42434769-5392-4D86-BD76-5C8CAC333A2C}"/>
              </a:ext>
            </a:extLst>
          </p:cNvPr>
          <p:cNvSpPr txBox="1">
            <a:spLocks/>
          </p:cNvSpPr>
          <p:nvPr/>
        </p:nvSpPr>
        <p:spPr>
          <a:xfrm>
            <a:off x="673418" y="294200"/>
            <a:ext cx="10978515" cy="590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defPPr>
              <a:defRPr lang="es-E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4400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gend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92F88FF-5AE0-4004-98F9-FEBEF5809D29}"/>
              </a:ext>
            </a:extLst>
          </p:cNvPr>
          <p:cNvCxnSpPr>
            <a:cxnSpLocks/>
          </p:cNvCxnSpPr>
          <p:nvPr/>
        </p:nvCxnSpPr>
        <p:spPr>
          <a:xfrm>
            <a:off x="714514" y="884600"/>
            <a:ext cx="1617720" cy="0"/>
          </a:xfrm>
          <a:prstGeom prst="line">
            <a:avLst/>
          </a:prstGeom>
          <a:ln w="38100">
            <a:solidFill>
              <a:srgbClr val="FCF6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6">
            <a:extLst>
              <a:ext uri="{FF2B5EF4-FFF2-40B4-BE49-F238E27FC236}">
                <a16:creationId xmlns:a16="http://schemas.microsoft.com/office/drawing/2014/main" id="{BE820A95-F062-4388-A79B-48F266E805A4}"/>
              </a:ext>
            </a:extLst>
          </p:cNvPr>
          <p:cNvSpPr/>
          <p:nvPr/>
        </p:nvSpPr>
        <p:spPr>
          <a:xfrm>
            <a:off x="3299953" y="1920858"/>
            <a:ext cx="2503205" cy="4937142"/>
          </a:xfrm>
          <a:prstGeom prst="rect">
            <a:avLst/>
          </a:prstGeom>
          <a:solidFill>
            <a:srgbClr val="262626">
              <a:alpha val="85098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sp>
        <p:nvSpPr>
          <p:cNvPr id="12" name="Rectangle 16">
            <a:extLst>
              <a:ext uri="{FF2B5EF4-FFF2-40B4-BE49-F238E27FC236}">
                <a16:creationId xmlns:a16="http://schemas.microsoft.com/office/drawing/2014/main" id="{069E4ECC-4B02-4736-82ED-7F2CFDE2C8EC}"/>
              </a:ext>
            </a:extLst>
          </p:cNvPr>
          <p:cNvSpPr/>
          <p:nvPr/>
        </p:nvSpPr>
        <p:spPr>
          <a:xfrm>
            <a:off x="6098073" y="1920858"/>
            <a:ext cx="2503205" cy="4937142"/>
          </a:xfrm>
          <a:prstGeom prst="rect">
            <a:avLst/>
          </a:prstGeom>
          <a:solidFill>
            <a:schemeClr val="tx1">
              <a:lumMod val="85000"/>
              <a:lumOff val="15000"/>
              <a:alpha val="6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13" name="Rectangle 16">
            <a:extLst>
              <a:ext uri="{FF2B5EF4-FFF2-40B4-BE49-F238E27FC236}">
                <a16:creationId xmlns:a16="http://schemas.microsoft.com/office/drawing/2014/main" id="{D78DF02B-BDC7-43AA-90A7-9181AFACBB99}"/>
              </a:ext>
            </a:extLst>
          </p:cNvPr>
          <p:cNvSpPr/>
          <p:nvPr/>
        </p:nvSpPr>
        <p:spPr>
          <a:xfrm>
            <a:off x="498849" y="1920858"/>
            <a:ext cx="2503205" cy="4937142"/>
          </a:xfrm>
          <a:prstGeom prst="rect">
            <a:avLst/>
          </a:prstGeom>
          <a:solidFill>
            <a:schemeClr val="tx1">
              <a:lumMod val="85000"/>
              <a:lumOff val="15000"/>
              <a:alpha val="6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sp>
        <p:nvSpPr>
          <p:cNvPr id="14" name="Textfeld 4">
            <a:extLst>
              <a:ext uri="{FF2B5EF4-FFF2-40B4-BE49-F238E27FC236}">
                <a16:creationId xmlns:a16="http://schemas.microsoft.com/office/drawing/2014/main" id="{9194B14F-EB6D-485A-ABC7-46A8A20FD06C}"/>
              </a:ext>
            </a:extLst>
          </p:cNvPr>
          <p:cNvSpPr txBox="1"/>
          <p:nvPr/>
        </p:nvSpPr>
        <p:spPr bwMode="gray">
          <a:xfrm>
            <a:off x="3653610" y="2052715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2</a:t>
            </a:r>
          </a:p>
        </p:txBody>
      </p:sp>
      <p:sp>
        <p:nvSpPr>
          <p:cNvPr id="15" name="Textfeld 4">
            <a:extLst>
              <a:ext uri="{FF2B5EF4-FFF2-40B4-BE49-F238E27FC236}">
                <a16:creationId xmlns:a16="http://schemas.microsoft.com/office/drawing/2014/main" id="{4ABDBE3C-76DA-4FC2-91E0-A28BDA73D8C2}"/>
              </a:ext>
            </a:extLst>
          </p:cNvPr>
          <p:cNvSpPr txBox="1"/>
          <p:nvPr/>
        </p:nvSpPr>
        <p:spPr bwMode="gray">
          <a:xfrm>
            <a:off x="6519525" y="2052715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3</a:t>
            </a:r>
          </a:p>
        </p:txBody>
      </p:sp>
      <p:sp>
        <p:nvSpPr>
          <p:cNvPr id="16" name="Textfeld 4">
            <a:extLst>
              <a:ext uri="{FF2B5EF4-FFF2-40B4-BE49-F238E27FC236}">
                <a16:creationId xmlns:a16="http://schemas.microsoft.com/office/drawing/2014/main" id="{C61A20B8-DABD-4DE0-9C63-E6E0343D8A7F}"/>
              </a:ext>
            </a:extLst>
          </p:cNvPr>
          <p:cNvSpPr txBox="1"/>
          <p:nvPr/>
        </p:nvSpPr>
        <p:spPr bwMode="gray">
          <a:xfrm>
            <a:off x="749887" y="2052715"/>
            <a:ext cx="606626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</a:t>
            </a:r>
            <a:endParaRPr kumimoji="0" lang="en-US" sz="8000" b="0" i="0" u="none" strike="noStrike" kern="0" cap="none" spc="0" normalizeH="0" baseline="0" noProof="0" dirty="0">
              <a:ln w="12700">
                <a:noFill/>
              </a:ln>
              <a:solidFill>
                <a:prstClr val="white">
                  <a:alpha val="70000"/>
                </a:prstClr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7" name="Rectangle 25">
            <a:extLst>
              <a:ext uri="{FF2B5EF4-FFF2-40B4-BE49-F238E27FC236}">
                <a16:creationId xmlns:a16="http://schemas.microsoft.com/office/drawing/2014/main" id="{247A2BC3-B3FC-4822-B443-19FC609F37E3}"/>
              </a:ext>
            </a:extLst>
          </p:cNvPr>
          <p:cNvSpPr>
            <a:spLocks/>
          </p:cNvSpPr>
          <p:nvPr/>
        </p:nvSpPr>
        <p:spPr>
          <a:xfrm>
            <a:off x="883861" y="3652239"/>
            <a:ext cx="1822620" cy="527901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Introducción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8" name="Rectangle 25">
            <a:extLst>
              <a:ext uri="{FF2B5EF4-FFF2-40B4-BE49-F238E27FC236}">
                <a16:creationId xmlns:a16="http://schemas.microsoft.com/office/drawing/2014/main" id="{EA57CDEB-A4F1-4FB1-89F5-5BADFE5D8788}"/>
              </a:ext>
            </a:extLst>
          </p:cNvPr>
          <p:cNvSpPr>
            <a:spLocks/>
          </p:cNvSpPr>
          <p:nvPr/>
        </p:nvSpPr>
        <p:spPr>
          <a:xfrm>
            <a:off x="3623182" y="3652239"/>
            <a:ext cx="1932432" cy="866456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dirty="0">
                <a:solidFill>
                  <a:srgbClr val="FFE600"/>
                </a:solidFill>
                <a:latin typeface="EYInterstate"/>
              </a:rPr>
              <a:t>Estudio de Datos y Modelo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9" name="Rectangle 25">
            <a:extLst>
              <a:ext uri="{FF2B5EF4-FFF2-40B4-BE49-F238E27FC236}">
                <a16:creationId xmlns:a16="http://schemas.microsoft.com/office/drawing/2014/main" id="{75CF3A2A-D467-47B7-835B-E44233823F31}"/>
              </a:ext>
            </a:extLst>
          </p:cNvPr>
          <p:cNvSpPr>
            <a:spLocks/>
          </p:cNvSpPr>
          <p:nvPr/>
        </p:nvSpPr>
        <p:spPr>
          <a:xfrm>
            <a:off x="6483084" y="3652239"/>
            <a:ext cx="1967551" cy="866456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Visualización de Datos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CE49DD9-4EDE-4143-9621-EBC49580BAEE}"/>
              </a:ext>
            </a:extLst>
          </p:cNvPr>
          <p:cNvGrpSpPr/>
          <p:nvPr/>
        </p:nvGrpSpPr>
        <p:grpSpPr>
          <a:xfrm>
            <a:off x="11537879" y="6256962"/>
            <a:ext cx="501722" cy="467700"/>
            <a:chOff x="7101720" y="656022"/>
            <a:chExt cx="2518529" cy="2377221"/>
          </a:xfrm>
        </p:grpSpPr>
        <p:sp>
          <p:nvSpPr>
            <p:cNvPr id="21" name="object 16">
              <a:extLst>
                <a:ext uri="{FF2B5EF4-FFF2-40B4-BE49-F238E27FC236}">
                  <a16:creationId xmlns:a16="http://schemas.microsoft.com/office/drawing/2014/main" id="{29A12E78-FB47-482F-80E0-D6B92807EF76}"/>
                </a:ext>
              </a:extLst>
            </p:cNvPr>
            <p:cNvSpPr/>
            <p:nvPr/>
          </p:nvSpPr>
          <p:spPr>
            <a:xfrm>
              <a:off x="7116290" y="656022"/>
              <a:ext cx="2018209" cy="809100"/>
            </a:xfrm>
            <a:custGeom>
              <a:avLst/>
              <a:gdLst/>
              <a:ahLst/>
              <a:cxnLst/>
              <a:rect l="l" t="t" r="r" b="b"/>
              <a:pathLst>
                <a:path w="784225" h="286384">
                  <a:moveTo>
                    <a:pt x="784021" y="0"/>
                  </a:moveTo>
                  <a:lnTo>
                    <a:pt x="0" y="286156"/>
                  </a:lnTo>
                  <a:lnTo>
                    <a:pt x="784021" y="147650"/>
                  </a:lnTo>
                  <a:lnTo>
                    <a:pt x="784021" y="0"/>
                  </a:lnTo>
                  <a:close/>
                </a:path>
              </a:pathLst>
            </a:custGeom>
            <a:solidFill>
              <a:srgbClr val="FFD4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17">
              <a:extLst>
                <a:ext uri="{FF2B5EF4-FFF2-40B4-BE49-F238E27FC236}">
                  <a16:creationId xmlns:a16="http://schemas.microsoft.com/office/drawing/2014/main" id="{26812F30-9D7F-4B5D-B57C-1C5E0876FC04}"/>
                </a:ext>
              </a:extLst>
            </p:cNvPr>
            <p:cNvSpPr/>
            <p:nvPr/>
          </p:nvSpPr>
          <p:spPr>
            <a:xfrm>
              <a:off x="7101720" y="1800553"/>
              <a:ext cx="2518529" cy="1232690"/>
            </a:xfrm>
            <a:prstGeom prst="rect">
              <a:avLst/>
            </a:prstGeom>
            <a:blipFill>
              <a:blip r:embed="rId4" cstate="print"/>
              <a:stretch>
                <a:fillRect b="-69966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Rectangle 16">
            <a:extLst>
              <a:ext uri="{FF2B5EF4-FFF2-40B4-BE49-F238E27FC236}">
                <a16:creationId xmlns:a16="http://schemas.microsoft.com/office/drawing/2014/main" id="{A9B53497-8654-4765-BA7F-56326849F6BE}"/>
              </a:ext>
            </a:extLst>
          </p:cNvPr>
          <p:cNvSpPr/>
          <p:nvPr/>
        </p:nvSpPr>
        <p:spPr>
          <a:xfrm>
            <a:off x="8858050" y="1919576"/>
            <a:ext cx="2503205" cy="4937142"/>
          </a:xfrm>
          <a:prstGeom prst="rect">
            <a:avLst/>
          </a:prstGeom>
          <a:solidFill>
            <a:schemeClr val="tx1">
              <a:lumMod val="85000"/>
              <a:lumOff val="15000"/>
              <a:alpha val="6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24" name="Textfeld 4">
            <a:extLst>
              <a:ext uri="{FF2B5EF4-FFF2-40B4-BE49-F238E27FC236}">
                <a16:creationId xmlns:a16="http://schemas.microsoft.com/office/drawing/2014/main" id="{548D1EAE-2C88-4B1F-915D-2D5670F0F0BB}"/>
              </a:ext>
            </a:extLst>
          </p:cNvPr>
          <p:cNvSpPr txBox="1"/>
          <p:nvPr/>
        </p:nvSpPr>
        <p:spPr bwMode="gray">
          <a:xfrm>
            <a:off x="9279502" y="2051433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prstClr val="white">
                    <a:alpha val="70000"/>
                  </a:prst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4</a:t>
            </a:r>
          </a:p>
        </p:txBody>
      </p:sp>
      <p:sp>
        <p:nvSpPr>
          <p:cNvPr id="25" name="Rectangle 25">
            <a:extLst>
              <a:ext uri="{FF2B5EF4-FFF2-40B4-BE49-F238E27FC236}">
                <a16:creationId xmlns:a16="http://schemas.microsoft.com/office/drawing/2014/main" id="{F067BC78-5203-463A-A5C4-19ED3C5BAEE2}"/>
              </a:ext>
            </a:extLst>
          </p:cNvPr>
          <p:cNvSpPr>
            <a:spLocks/>
          </p:cNvSpPr>
          <p:nvPr/>
        </p:nvSpPr>
        <p:spPr>
          <a:xfrm>
            <a:off x="9131221" y="3631667"/>
            <a:ext cx="2176918" cy="527901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dirty="0">
                <a:solidFill>
                  <a:srgbClr val="FFE600"/>
                </a:solidFill>
                <a:latin typeface="EYInterstate"/>
              </a:rPr>
              <a:t>Conclusiones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58123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What are the Major Types of Cyber Crime | Phoenix | Coolidge Law Firm">
            <a:extLst>
              <a:ext uri="{FF2B5EF4-FFF2-40B4-BE49-F238E27FC236}">
                <a16:creationId xmlns:a16="http://schemas.microsoft.com/office/drawing/2014/main" id="{7A372F47-07ED-43A5-A18F-1B8E1A7684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7648" r="24647"/>
          <a:stretch/>
        </p:blipFill>
        <p:spPr bwMode="auto">
          <a:xfrm>
            <a:off x="7938975" y="1"/>
            <a:ext cx="42530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43300A1-3C06-45C9-A59D-A984D0DFD2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4418" y="157162"/>
            <a:ext cx="7229475" cy="6543675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84C40951-38B5-471C-A5C7-CAB680FBB4C5}"/>
              </a:ext>
            </a:extLst>
          </p:cNvPr>
          <p:cNvGrpSpPr/>
          <p:nvPr/>
        </p:nvGrpSpPr>
        <p:grpSpPr>
          <a:xfrm>
            <a:off x="11537879" y="6256962"/>
            <a:ext cx="501722" cy="467700"/>
            <a:chOff x="7101720" y="656022"/>
            <a:chExt cx="2518529" cy="2377221"/>
          </a:xfrm>
        </p:grpSpPr>
        <p:sp>
          <p:nvSpPr>
            <p:cNvPr id="5" name="object 16">
              <a:extLst>
                <a:ext uri="{FF2B5EF4-FFF2-40B4-BE49-F238E27FC236}">
                  <a16:creationId xmlns:a16="http://schemas.microsoft.com/office/drawing/2014/main" id="{7007F081-5E0E-44F5-ABB2-EF91045D8E77}"/>
                </a:ext>
              </a:extLst>
            </p:cNvPr>
            <p:cNvSpPr/>
            <p:nvPr/>
          </p:nvSpPr>
          <p:spPr>
            <a:xfrm>
              <a:off x="7116290" y="656022"/>
              <a:ext cx="2018209" cy="809100"/>
            </a:xfrm>
            <a:custGeom>
              <a:avLst/>
              <a:gdLst/>
              <a:ahLst/>
              <a:cxnLst/>
              <a:rect l="l" t="t" r="r" b="b"/>
              <a:pathLst>
                <a:path w="784225" h="286384">
                  <a:moveTo>
                    <a:pt x="784021" y="0"/>
                  </a:moveTo>
                  <a:lnTo>
                    <a:pt x="0" y="286156"/>
                  </a:lnTo>
                  <a:lnTo>
                    <a:pt x="784021" y="147650"/>
                  </a:lnTo>
                  <a:lnTo>
                    <a:pt x="784021" y="0"/>
                  </a:lnTo>
                  <a:close/>
                </a:path>
              </a:pathLst>
            </a:custGeom>
            <a:solidFill>
              <a:srgbClr val="FFD4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17">
              <a:extLst>
                <a:ext uri="{FF2B5EF4-FFF2-40B4-BE49-F238E27FC236}">
                  <a16:creationId xmlns:a16="http://schemas.microsoft.com/office/drawing/2014/main" id="{C1634592-DBAD-4D37-9745-C2F29CC7FB35}"/>
                </a:ext>
              </a:extLst>
            </p:cNvPr>
            <p:cNvSpPr/>
            <p:nvPr/>
          </p:nvSpPr>
          <p:spPr>
            <a:xfrm>
              <a:off x="7101720" y="1800553"/>
              <a:ext cx="2518529" cy="1232690"/>
            </a:xfrm>
            <a:prstGeom prst="rect">
              <a:avLst/>
            </a:prstGeom>
            <a:blipFill>
              <a:blip r:embed="rId6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 b="-69966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Rectangle 16">
            <a:extLst>
              <a:ext uri="{FF2B5EF4-FFF2-40B4-BE49-F238E27FC236}">
                <a16:creationId xmlns:a16="http://schemas.microsoft.com/office/drawing/2014/main" id="{9712B13B-A171-47E3-A39C-69EDEBF18873}"/>
              </a:ext>
            </a:extLst>
          </p:cNvPr>
          <p:cNvSpPr/>
          <p:nvPr/>
        </p:nvSpPr>
        <p:spPr>
          <a:xfrm>
            <a:off x="7938975" y="-42532"/>
            <a:ext cx="4253025" cy="6857999"/>
          </a:xfrm>
          <a:prstGeom prst="rect">
            <a:avLst/>
          </a:prstGeom>
          <a:solidFill>
            <a:schemeClr val="bg2">
              <a:lumMod val="50000"/>
              <a:alpha val="6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sp>
        <p:nvSpPr>
          <p:cNvPr id="14" name="Rectangle 16">
            <a:extLst>
              <a:ext uri="{FF2B5EF4-FFF2-40B4-BE49-F238E27FC236}">
                <a16:creationId xmlns:a16="http://schemas.microsoft.com/office/drawing/2014/main" id="{DA0F3968-0169-4A64-AC8A-26F487F46113}"/>
              </a:ext>
            </a:extLst>
          </p:cNvPr>
          <p:cNvSpPr/>
          <p:nvPr/>
        </p:nvSpPr>
        <p:spPr>
          <a:xfrm>
            <a:off x="7938975" y="2079209"/>
            <a:ext cx="4253025" cy="921486"/>
          </a:xfrm>
          <a:prstGeom prst="rect">
            <a:avLst/>
          </a:prstGeom>
          <a:solidFill>
            <a:srgbClr val="181717">
              <a:alpha val="69804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sp>
        <p:nvSpPr>
          <p:cNvPr id="15" name="Rectangle 25">
            <a:extLst>
              <a:ext uri="{FF2B5EF4-FFF2-40B4-BE49-F238E27FC236}">
                <a16:creationId xmlns:a16="http://schemas.microsoft.com/office/drawing/2014/main" id="{3F960652-8641-4E90-AE95-84CFB55F8BB2}"/>
              </a:ext>
            </a:extLst>
          </p:cNvPr>
          <p:cNvSpPr>
            <a:spLocks/>
          </p:cNvSpPr>
          <p:nvPr/>
        </p:nvSpPr>
        <p:spPr>
          <a:xfrm>
            <a:off x="7938975" y="2318915"/>
            <a:ext cx="4253025" cy="441724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Variables de estudio</a:t>
            </a:r>
            <a:endParaRPr kumimoji="0" lang="es-E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39958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62" name="Picture 6" descr="Descubre nuestra nueva guía de Viena - Civitatis Magazine">
            <a:extLst>
              <a:ext uri="{FF2B5EF4-FFF2-40B4-BE49-F238E27FC236}">
                <a16:creationId xmlns:a16="http://schemas.microsoft.com/office/drawing/2014/main" id="{211A76D8-1927-49C5-A908-65A5D3101E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40741"/>
          <a:stretch/>
        </p:blipFill>
        <p:spPr bwMode="auto">
          <a:xfrm>
            <a:off x="6096000" y="0"/>
            <a:ext cx="609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16">
            <a:extLst>
              <a:ext uri="{FF2B5EF4-FFF2-40B4-BE49-F238E27FC236}">
                <a16:creationId xmlns:a16="http://schemas.microsoft.com/office/drawing/2014/main" id="{AC5746A3-80AA-451E-9963-C5BAC70185B8}"/>
              </a:ext>
            </a:extLst>
          </p:cNvPr>
          <p:cNvSpPr/>
          <p:nvPr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rgbClr val="181717">
              <a:alpha val="20000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pic>
        <p:nvPicPr>
          <p:cNvPr id="19464" name="Picture 8" descr="La pobreza extrema en Venezuela bajó al 53,3%, una caída de 14,7 puntos  respecto a 2021 - Economía">
            <a:extLst>
              <a:ext uri="{FF2B5EF4-FFF2-40B4-BE49-F238E27FC236}">
                <a16:creationId xmlns:a16="http://schemas.microsoft.com/office/drawing/2014/main" id="{0B01DA58-0B87-4BCC-83ED-2429908D7FE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alphaModFix amt="8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3333"/>
          <a:stretch/>
        </p:blipFill>
        <p:spPr bwMode="auto">
          <a:xfrm>
            <a:off x="0" y="0"/>
            <a:ext cx="609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16">
            <a:extLst>
              <a:ext uri="{FF2B5EF4-FFF2-40B4-BE49-F238E27FC236}">
                <a16:creationId xmlns:a16="http://schemas.microsoft.com/office/drawing/2014/main" id="{E1A97295-994E-46D4-B0D3-1643D48E4B74}"/>
              </a:ext>
            </a:extLst>
          </p:cNvPr>
          <p:cNvSpPr/>
          <p:nvPr/>
        </p:nvSpPr>
        <p:spPr>
          <a:xfrm>
            <a:off x="0" y="-1"/>
            <a:ext cx="6096000" cy="6857999"/>
          </a:xfrm>
          <a:prstGeom prst="rect">
            <a:avLst/>
          </a:prstGeom>
          <a:solidFill>
            <a:srgbClr val="181717">
              <a:alpha val="20000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sp>
        <p:nvSpPr>
          <p:cNvPr id="10" name="Rectangle 16">
            <a:extLst>
              <a:ext uri="{FF2B5EF4-FFF2-40B4-BE49-F238E27FC236}">
                <a16:creationId xmlns:a16="http://schemas.microsoft.com/office/drawing/2014/main" id="{546DB842-C42D-4A2A-9541-168677808AA4}"/>
              </a:ext>
            </a:extLst>
          </p:cNvPr>
          <p:cNvSpPr/>
          <p:nvPr/>
        </p:nvSpPr>
        <p:spPr>
          <a:xfrm>
            <a:off x="520994" y="258728"/>
            <a:ext cx="11142922" cy="921486"/>
          </a:xfrm>
          <a:prstGeom prst="rect">
            <a:avLst/>
          </a:prstGeom>
          <a:solidFill>
            <a:srgbClr val="181717">
              <a:alpha val="89804"/>
            </a:srgb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chemeClr val="tx1">
                  <a:lumMod val="50000"/>
                </a:schemeClr>
              </a:solidFill>
              <a:latin typeface="EYInterstate" panose="02000503020000020004" pitchFamily="2" charset="0"/>
            </a:endParaRPr>
          </a:p>
        </p:txBody>
      </p:sp>
      <p:sp>
        <p:nvSpPr>
          <p:cNvPr id="11" name="Rectangle 25">
            <a:extLst>
              <a:ext uri="{FF2B5EF4-FFF2-40B4-BE49-F238E27FC236}">
                <a16:creationId xmlns:a16="http://schemas.microsoft.com/office/drawing/2014/main" id="{ACB9DCF0-5A04-4EA9-A5C3-92E30E2D4C1B}"/>
              </a:ext>
            </a:extLst>
          </p:cNvPr>
          <p:cNvSpPr>
            <a:spLocks/>
          </p:cNvSpPr>
          <p:nvPr/>
        </p:nvSpPr>
        <p:spPr>
          <a:xfrm>
            <a:off x="528084" y="247280"/>
            <a:ext cx="11135832" cy="441724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2800" b="1" dirty="0">
                <a:solidFill>
                  <a:srgbClr val="FFE600"/>
                </a:solidFill>
                <a:latin typeface="EYInterstate"/>
              </a:rPr>
              <a:t>C</a:t>
            </a:r>
            <a:r>
              <a:rPr lang="es-ES" sz="2800" b="1" dirty="0" err="1">
                <a:solidFill>
                  <a:srgbClr val="FFE600"/>
                </a:solidFill>
                <a:latin typeface="EYInterstate"/>
              </a:rPr>
              <a:t>lasificación</a:t>
            </a:r>
            <a:r>
              <a:rPr lang="es-ES" sz="2800" b="1" dirty="0">
                <a:solidFill>
                  <a:srgbClr val="FFE600"/>
                </a:solidFill>
                <a:latin typeface="EYInterstate"/>
              </a:rPr>
              <a:t> de Países</a:t>
            </a:r>
          </a:p>
        </p:txBody>
      </p:sp>
      <p:sp>
        <p:nvSpPr>
          <p:cNvPr id="12" name="Rectangle 25">
            <a:extLst>
              <a:ext uri="{FF2B5EF4-FFF2-40B4-BE49-F238E27FC236}">
                <a16:creationId xmlns:a16="http://schemas.microsoft.com/office/drawing/2014/main" id="{7D2C8D29-BF0E-4D3C-9763-95F4355A17FD}"/>
              </a:ext>
            </a:extLst>
          </p:cNvPr>
          <p:cNvSpPr>
            <a:spLocks/>
          </p:cNvSpPr>
          <p:nvPr/>
        </p:nvSpPr>
        <p:spPr>
          <a:xfrm>
            <a:off x="520994" y="795334"/>
            <a:ext cx="11135832" cy="315536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2000" b="1" i="1" dirty="0">
                <a:solidFill>
                  <a:srgbClr val="FFE600"/>
                </a:solidFill>
                <a:latin typeface="EYInterstate"/>
              </a:rPr>
              <a:t>mayor y menor índice de criminalidad</a:t>
            </a:r>
            <a:endParaRPr lang="es-ES" sz="2000" b="1" i="1" dirty="0">
              <a:solidFill>
                <a:srgbClr val="FFE600"/>
              </a:solidFill>
              <a:latin typeface="EYInterstate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6660D7B-B66D-4917-B92B-09672C4164DE}"/>
              </a:ext>
            </a:extLst>
          </p:cNvPr>
          <p:cNvSpPr txBox="1"/>
          <p:nvPr/>
        </p:nvSpPr>
        <p:spPr>
          <a:xfrm>
            <a:off x="1329071" y="1794458"/>
            <a:ext cx="3359887" cy="2923877"/>
          </a:xfrm>
          <a:prstGeom prst="rect">
            <a:avLst/>
          </a:prstGeom>
          <a:solidFill>
            <a:schemeClr val="bg2">
              <a:lumMod val="25000"/>
              <a:alpha val="85098"/>
            </a:schemeClr>
          </a:solidFill>
          <a:ln w="12700">
            <a:solidFill>
              <a:srgbClr val="181717"/>
            </a:solidFill>
            <a:prstDash val="solid"/>
          </a:ln>
        </p:spPr>
        <p:txBody>
          <a:bodyPr wrap="square" rtlCol="0">
            <a:spAutoFit/>
          </a:bodyPr>
          <a:lstStyle/>
          <a:p>
            <a:endParaRPr lang="en-GB" sz="1600" dirty="0">
              <a:solidFill>
                <a:schemeClr val="bg1"/>
              </a:solidFill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  <a:latin typeface="EYInterstate" panose="02000503020000020004" pitchFamily="2" charset="0"/>
                <a:cs typeface="Arial" panose="020B0604020202020204" pitchFamily="34" charset="0"/>
              </a:rPr>
              <a:t>America del Sur y </a:t>
            </a:r>
            <a:r>
              <a:rPr lang="en-GB" dirty="0" err="1">
                <a:solidFill>
                  <a:schemeClr val="bg1"/>
                </a:solidFill>
                <a:latin typeface="EYInterstate" panose="02000503020000020004" pitchFamily="2" charset="0"/>
                <a:cs typeface="Arial" panose="020B0604020202020204" pitchFamily="34" charset="0"/>
              </a:rPr>
              <a:t>África</a:t>
            </a:r>
            <a:endParaRPr lang="en-GB" dirty="0">
              <a:solidFill>
                <a:schemeClr val="bg1"/>
              </a:solidFill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>
                <a:solidFill>
                  <a:schemeClr val="bg1"/>
                </a:solidFill>
                <a:latin typeface="EYInterstate" panose="02000503020000020004" pitchFamily="2" charset="0"/>
                <a:cs typeface="Arial" panose="020B0604020202020204" pitchFamily="34" charset="0"/>
              </a:rPr>
              <a:t>Menor</a:t>
            </a:r>
            <a:r>
              <a:rPr lang="en-GB" dirty="0">
                <a:solidFill>
                  <a:schemeClr val="bg1"/>
                </a:solidFill>
                <a:latin typeface="EYInterstate" panose="02000503020000020004" pitchFamily="2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chemeClr val="bg1"/>
                </a:solidFill>
                <a:latin typeface="EYInterstate" panose="02000503020000020004" pitchFamily="2" charset="0"/>
                <a:cs typeface="Arial" panose="020B0604020202020204" pitchFamily="34" charset="0"/>
              </a:rPr>
              <a:t>coste</a:t>
            </a:r>
            <a:r>
              <a:rPr lang="en-GB" dirty="0">
                <a:solidFill>
                  <a:schemeClr val="bg1"/>
                </a:solidFill>
                <a:latin typeface="EYInterstate" panose="02000503020000020004" pitchFamily="2" charset="0"/>
                <a:cs typeface="Arial" panose="020B0604020202020204" pitchFamily="34" charset="0"/>
              </a:rPr>
              <a:t> de </a:t>
            </a:r>
            <a:r>
              <a:rPr lang="en-GB" dirty="0" err="1">
                <a:solidFill>
                  <a:schemeClr val="bg1"/>
                </a:solidFill>
                <a:latin typeface="EYInterstate" panose="02000503020000020004" pitchFamily="2" charset="0"/>
                <a:cs typeface="Arial" panose="020B0604020202020204" pitchFamily="34" charset="0"/>
              </a:rPr>
              <a:t>vida</a:t>
            </a:r>
            <a:endParaRPr lang="en-GB" dirty="0">
              <a:solidFill>
                <a:schemeClr val="bg1"/>
              </a:solidFill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>
                <a:solidFill>
                  <a:schemeClr val="bg1"/>
                </a:solidFill>
                <a:latin typeface="EYInterstate" panose="02000503020000020004" pitchFamily="2" charset="0"/>
                <a:cs typeface="Arial" panose="020B0604020202020204" pitchFamily="34" charset="0"/>
              </a:rPr>
              <a:t>Últimas</a:t>
            </a:r>
            <a:r>
              <a:rPr lang="en-GB" dirty="0">
                <a:solidFill>
                  <a:schemeClr val="bg1"/>
                </a:solidFill>
                <a:latin typeface="EYInterstate" panose="02000503020000020004" pitchFamily="2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chemeClr val="bg1"/>
                </a:solidFill>
                <a:latin typeface="EYInterstate" panose="02000503020000020004" pitchFamily="2" charset="0"/>
                <a:cs typeface="Arial" panose="020B0604020202020204" pitchFamily="34" charset="0"/>
              </a:rPr>
              <a:t>posiciones</a:t>
            </a:r>
            <a:r>
              <a:rPr lang="en-GB" dirty="0">
                <a:solidFill>
                  <a:schemeClr val="bg1"/>
                </a:solidFill>
                <a:latin typeface="EYInterstate" panose="02000503020000020004" pitchFamily="2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chemeClr val="bg1"/>
                </a:solidFill>
                <a:latin typeface="EYInterstate" panose="02000503020000020004" pitchFamily="2" charset="0"/>
                <a:cs typeface="Arial" panose="020B0604020202020204" pitchFamily="34" charset="0"/>
              </a:rPr>
              <a:t>en</a:t>
            </a:r>
            <a:r>
              <a:rPr lang="en-GB" dirty="0">
                <a:solidFill>
                  <a:schemeClr val="bg1"/>
                </a:solidFill>
                <a:latin typeface="EYInterstate" panose="02000503020000020004" pitchFamily="2" charset="0"/>
                <a:cs typeface="Arial" panose="020B0604020202020204" pitchFamily="34" charset="0"/>
              </a:rPr>
              <a:t> Happiness Ranking</a:t>
            </a:r>
          </a:p>
          <a:p>
            <a:endParaRPr lang="en-GB" sz="1600" dirty="0">
              <a:solidFill>
                <a:schemeClr val="bg1"/>
              </a:solidFill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ezuela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Hondura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Guyana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auricio</a:t>
            </a:r>
            <a:endParaRPr lang="en-GB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600" dirty="0">
              <a:solidFill>
                <a:schemeClr val="bg1"/>
              </a:solidFill>
              <a:latin typeface="EYInterstate" panose="02000503020000020004" pitchFamily="2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7E8E99-A13A-4D0B-8FD1-9F78D1994833}"/>
              </a:ext>
            </a:extLst>
          </p:cNvPr>
          <p:cNvSpPr txBox="1"/>
          <p:nvPr/>
        </p:nvSpPr>
        <p:spPr>
          <a:xfrm>
            <a:off x="7503042" y="1794458"/>
            <a:ext cx="3359887" cy="2923877"/>
          </a:xfrm>
          <a:prstGeom prst="rect">
            <a:avLst/>
          </a:prstGeom>
          <a:solidFill>
            <a:schemeClr val="bg2">
              <a:lumMod val="90000"/>
              <a:alpha val="85098"/>
            </a:schemeClr>
          </a:solidFill>
          <a:ln w="12700">
            <a:solidFill>
              <a:srgbClr val="181717"/>
            </a:solidFill>
            <a:prstDash val="solid"/>
          </a:ln>
        </p:spPr>
        <p:txBody>
          <a:bodyPr wrap="square" rtlCol="0">
            <a:spAutoFit/>
          </a:bodyPr>
          <a:lstStyle/>
          <a:p>
            <a:endParaRPr lang="en-GB" sz="1600" dirty="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EYInterstate" panose="02000503020000020004" pitchFamily="2" charset="0"/>
                <a:cs typeface="Arial" panose="020B0604020202020204" pitchFamily="34" charset="0"/>
              </a:rPr>
              <a:t>Europ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EYInterstate" panose="02000503020000020004" pitchFamily="2" charset="0"/>
                <a:cs typeface="Arial" panose="020B0604020202020204" pitchFamily="34" charset="0"/>
              </a:rPr>
              <a:t>Mayor </a:t>
            </a:r>
            <a:r>
              <a:rPr lang="en-GB" dirty="0" err="1">
                <a:latin typeface="EYInterstate" panose="02000503020000020004" pitchFamily="2" charset="0"/>
                <a:cs typeface="Arial" panose="020B0604020202020204" pitchFamily="34" charset="0"/>
              </a:rPr>
              <a:t>coste</a:t>
            </a:r>
            <a:r>
              <a:rPr lang="en-GB" dirty="0">
                <a:latin typeface="EYInterstate" panose="02000503020000020004" pitchFamily="2" charset="0"/>
                <a:cs typeface="Arial" panose="020B0604020202020204" pitchFamily="34" charset="0"/>
              </a:rPr>
              <a:t> de </a:t>
            </a:r>
            <a:r>
              <a:rPr lang="en-GB" dirty="0" err="1">
                <a:latin typeface="EYInterstate" panose="02000503020000020004" pitchFamily="2" charset="0"/>
                <a:cs typeface="Arial" panose="020B0604020202020204" pitchFamily="34" charset="0"/>
              </a:rPr>
              <a:t>vida</a:t>
            </a:r>
            <a:endParaRPr lang="en-GB" dirty="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>
                <a:latin typeface="EYInterstate" panose="02000503020000020004" pitchFamily="2" charset="0"/>
                <a:cs typeface="Arial" panose="020B0604020202020204" pitchFamily="34" charset="0"/>
              </a:rPr>
              <a:t>Primeras</a:t>
            </a:r>
            <a:r>
              <a:rPr lang="en-GB" dirty="0">
                <a:latin typeface="EYInterstate" panose="02000503020000020004" pitchFamily="2" charset="0"/>
                <a:cs typeface="Arial" panose="020B0604020202020204" pitchFamily="34" charset="0"/>
              </a:rPr>
              <a:t> </a:t>
            </a:r>
            <a:r>
              <a:rPr lang="en-GB" dirty="0" err="1">
                <a:latin typeface="EYInterstate" panose="02000503020000020004" pitchFamily="2" charset="0"/>
                <a:cs typeface="Arial" panose="020B0604020202020204" pitchFamily="34" charset="0"/>
              </a:rPr>
              <a:t>posiciones</a:t>
            </a:r>
            <a:r>
              <a:rPr lang="en-GB" dirty="0">
                <a:latin typeface="EYInterstate" panose="02000503020000020004" pitchFamily="2" charset="0"/>
                <a:cs typeface="Arial" panose="020B0604020202020204" pitchFamily="34" charset="0"/>
              </a:rPr>
              <a:t> </a:t>
            </a:r>
            <a:r>
              <a:rPr lang="en-GB" dirty="0" err="1">
                <a:latin typeface="EYInterstate" panose="02000503020000020004" pitchFamily="2" charset="0"/>
                <a:cs typeface="Arial" panose="020B0604020202020204" pitchFamily="34" charset="0"/>
              </a:rPr>
              <a:t>en</a:t>
            </a:r>
            <a:r>
              <a:rPr lang="en-GB" dirty="0">
                <a:latin typeface="EYInterstate" panose="02000503020000020004" pitchFamily="2" charset="0"/>
                <a:cs typeface="Arial" panose="020B0604020202020204" pitchFamily="34" charset="0"/>
              </a:rPr>
              <a:t> Happiness Ranking</a:t>
            </a:r>
          </a:p>
          <a:p>
            <a:endParaRPr lang="en-GB" sz="1600" dirty="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600" dirty="0" err="1">
                <a:latin typeface="EYInterstate" panose="02000503020000020004" pitchFamily="2" charset="0"/>
                <a:cs typeface="Arial" panose="020B0604020202020204" pitchFamily="34" charset="0"/>
                <a:sym typeface="Wingdings" panose="05000000000000000000" pitchFamily="2" charset="2"/>
              </a:rPr>
              <a:t>Islandia</a:t>
            </a:r>
            <a:endParaRPr lang="en-GB" sz="1600" dirty="0">
              <a:latin typeface="EYInterstate" panose="02000503020000020004" pitchFamily="2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600" dirty="0">
                <a:latin typeface="EYInterstate" panose="02000503020000020004" pitchFamily="2" charset="0"/>
                <a:cs typeface="Arial" panose="020B0604020202020204" pitchFamily="34" charset="0"/>
                <a:sym typeface="Wingdings" panose="05000000000000000000" pitchFamily="2" charset="2"/>
              </a:rPr>
              <a:t>Nueva </a:t>
            </a:r>
            <a:r>
              <a:rPr lang="en-GB" sz="1600" dirty="0" err="1">
                <a:latin typeface="EYInterstate" panose="02000503020000020004" pitchFamily="2" charset="0"/>
                <a:cs typeface="Arial" panose="020B0604020202020204" pitchFamily="34" charset="0"/>
                <a:sym typeface="Wingdings" panose="05000000000000000000" pitchFamily="2" charset="2"/>
              </a:rPr>
              <a:t>Zelanda</a:t>
            </a:r>
            <a:endParaRPr lang="en-GB" sz="1600" dirty="0">
              <a:latin typeface="EYInterstate" panose="02000503020000020004" pitchFamily="2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600" dirty="0" err="1">
                <a:latin typeface="EYInterstate" panose="02000503020000020004" pitchFamily="2" charset="0"/>
                <a:cs typeface="Arial" panose="020B0604020202020204" pitchFamily="34" charset="0"/>
                <a:sym typeface="Wingdings" panose="05000000000000000000" pitchFamily="2" charset="2"/>
              </a:rPr>
              <a:t>Irlanda</a:t>
            </a:r>
            <a:endParaRPr lang="en-GB" sz="1600" dirty="0">
              <a:latin typeface="EYInterstate" panose="02000503020000020004" pitchFamily="2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600" dirty="0" err="1">
                <a:latin typeface="EYInterstate" panose="02000503020000020004" pitchFamily="2" charset="0"/>
                <a:cs typeface="Arial" panose="020B0604020202020204" pitchFamily="34" charset="0"/>
                <a:sym typeface="Wingdings" panose="05000000000000000000" pitchFamily="2" charset="2"/>
              </a:rPr>
              <a:t>Dinamarca</a:t>
            </a: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600" dirty="0">
              <a:latin typeface="EYInterstate" panose="02000503020000020004" pitchFamily="2" charset="0"/>
              <a:cs typeface="Arial" panose="020B060402020202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F25AD8F-984F-4B89-A1CB-F6CF3BC7C7C2}"/>
              </a:ext>
            </a:extLst>
          </p:cNvPr>
          <p:cNvSpPr/>
          <p:nvPr/>
        </p:nvSpPr>
        <p:spPr>
          <a:xfrm>
            <a:off x="4400958" y="4309697"/>
            <a:ext cx="576000" cy="576000"/>
          </a:xfrm>
          <a:prstGeom prst="ellipse">
            <a:avLst/>
          </a:prstGeom>
          <a:solidFill>
            <a:schemeClr val="bg2">
              <a:lumMod val="50000"/>
              <a:alpha val="89804"/>
            </a:schemeClr>
          </a:solidFill>
          <a:ln w="19050" cap="rnd">
            <a:solidFill>
              <a:srgbClr val="FFE600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_tradnl" sz="4000" dirty="0">
                <a:solidFill>
                  <a:srgbClr val="FFE600"/>
                </a:solidFill>
                <a:latin typeface="EYInterstate" panose="02000503020000020004" pitchFamily="2" charset="0"/>
              </a:rPr>
              <a:t>+</a:t>
            </a:r>
            <a:endParaRPr lang="es-ES" sz="4000" dirty="0">
              <a:solidFill>
                <a:srgbClr val="FFE600"/>
              </a:solidFill>
              <a:latin typeface="EYInterstate" panose="02000503020000020004" pitchFamily="2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668038C-A39A-4BFB-92E2-C58B3F13F0EF}"/>
              </a:ext>
            </a:extLst>
          </p:cNvPr>
          <p:cNvSpPr/>
          <p:nvPr/>
        </p:nvSpPr>
        <p:spPr>
          <a:xfrm>
            <a:off x="10573142" y="4309697"/>
            <a:ext cx="576000" cy="576000"/>
          </a:xfrm>
          <a:prstGeom prst="ellipse">
            <a:avLst/>
          </a:prstGeom>
          <a:solidFill>
            <a:schemeClr val="bg2">
              <a:lumMod val="50000"/>
              <a:alpha val="89804"/>
            </a:schemeClr>
          </a:solidFill>
          <a:ln w="19050" cap="rnd">
            <a:solidFill>
              <a:srgbClr val="FFE600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_tradnl" sz="4000" dirty="0">
                <a:solidFill>
                  <a:srgbClr val="FFE600"/>
                </a:solidFill>
                <a:latin typeface="EYInterstate" panose="02000503020000020004" pitchFamily="2" charset="0"/>
              </a:rPr>
              <a:t>-</a:t>
            </a:r>
            <a:endParaRPr lang="es-ES" sz="4000" dirty="0">
              <a:solidFill>
                <a:srgbClr val="FFE600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6898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9_cLZi7icEpEJek1K2s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93</TotalTime>
  <Words>698</Words>
  <Application>Microsoft Office PowerPoint</Application>
  <PresentationFormat>Widescreen</PresentationFormat>
  <Paragraphs>175</Paragraphs>
  <Slides>18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Arial</vt:lpstr>
      <vt:lpstr>Calibri</vt:lpstr>
      <vt:lpstr>Calibri Light</vt:lpstr>
      <vt:lpstr>EYInterstate</vt:lpstr>
      <vt:lpstr>EYInterstate Light</vt:lpstr>
      <vt:lpstr>Wingdings</vt:lpstr>
      <vt:lpstr>Office Them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ÁLISIS DE LA CRIMINALIDAD EN EL MUNDO</dc:title>
  <dc:creator>Cristina Garcia Gutierrez</dc:creator>
  <cp:lastModifiedBy>Cristina Garcia Gutierrez</cp:lastModifiedBy>
  <cp:revision>30</cp:revision>
  <dcterms:created xsi:type="dcterms:W3CDTF">2022-12-20T17:32:43Z</dcterms:created>
  <dcterms:modified xsi:type="dcterms:W3CDTF">2022-12-22T14:28:20Z</dcterms:modified>
</cp:coreProperties>
</file>